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3.xml" ContentType="application/vnd.openxmlformats-officedocument.theme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4.xml" ContentType="application/vnd.openxmlformats-officedocument.them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heme/theme5.xml" ContentType="application/vnd.openxmlformats-officedocument.theme+xml"/>
  <Override PartName="/ppt/tags/tag516.xml" ContentType="application/vnd.openxmlformats-officedocument.presentationml.tags+xml"/>
  <Override PartName="/ppt/theme/theme6.xml" ContentType="application/vnd.openxmlformats-officedocument.theme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charts/chart8.xml" ContentType="application/vnd.openxmlformats-officedocument.drawingml.chart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charts/chart9.xml" ContentType="application/vnd.openxmlformats-officedocument.drawingml.chart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charts/chart10.xml" ContentType="application/vnd.openxmlformats-officedocument.drawingml.chart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charts/chart11.xml" ContentType="application/vnd.openxmlformats-officedocument.drawingml.chart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charts/chart1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56" r:id="rId5"/>
    <p:sldMasterId id="2147483840" r:id="rId6"/>
    <p:sldMasterId id="2147483935" r:id="rId7"/>
  </p:sldMasterIdLst>
  <p:notesMasterIdLst>
    <p:notesMasterId r:id="rId17"/>
  </p:notesMasterIdLst>
  <p:handoutMasterIdLst>
    <p:handoutMasterId r:id="rId18"/>
  </p:handoutMasterIdLst>
  <p:sldIdLst>
    <p:sldId id="2147481935" r:id="rId8"/>
    <p:sldId id="2147481931" r:id="rId9"/>
    <p:sldId id="2147483079" r:id="rId10"/>
    <p:sldId id="2147481934" r:id="rId11"/>
    <p:sldId id="2147483070" r:id="rId12"/>
    <p:sldId id="2147483071" r:id="rId13"/>
    <p:sldId id="2147483072" r:id="rId14"/>
    <p:sldId id="2147483073" r:id="rId15"/>
    <p:sldId id="2147483078" r:id="rId16"/>
  </p:sldIdLst>
  <p:sldSz cx="12192000" cy="6858000"/>
  <p:notesSz cx="6797675" cy="9926638"/>
  <p:custDataLst>
    <p:tags r:id="rId19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g, Oliver" initials="ZO" lastIdx="1" clrIdx="0">
    <p:extLst>
      <p:ext uri="{19B8F6BF-5375-455C-9EA6-DF929625EA0E}">
        <p15:presenceInfo xmlns:p15="http://schemas.microsoft.com/office/powerpoint/2012/main" userId="S::Oliver.Zhang@Bain.com::93ceecf7-2301-4470-b197-bd28156a231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9292"/>
    <a:srgbClr val="E93FF2"/>
    <a:srgbClr val="8F00FF"/>
    <a:srgbClr val="9EDA9E"/>
    <a:srgbClr val="F1CB14"/>
    <a:srgbClr val="5D4A89"/>
    <a:srgbClr val="EA0000"/>
    <a:srgbClr val="8E61BB"/>
    <a:srgbClr val="000000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34CD53-6FD6-4760-9748-51BE1DBF9523}" v="48267" dt="2025-11-09T07:09:10.509"/>
  </p1510:revLst>
</p1510:revInfo>
</file>

<file path=ppt/tableStyles.xml><?xml version="1.0" encoding="utf-8"?>
<a:tblStyleLst xmlns:a="http://schemas.openxmlformats.org/drawingml/2006/main" def="{0E3FDE45-AF77-4B5C-9715-49D594BDF05E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accent2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accent4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accent5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accent6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1674" autoAdjust="0"/>
  </p:normalViewPr>
  <p:slideViewPr>
    <p:cSldViewPr snapToGrid="0">
      <p:cViewPr varScale="1">
        <p:scale>
          <a:sx n="67" d="100"/>
          <a:sy n="67" d="100"/>
        </p:scale>
        <p:origin x="1248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44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qun Dai" userId="360a2182-b97f-4635-b990-04f846616e33" providerId="ADAL" clId="{8F04EA49-0EFC-48F3-A4D8-E0F0D3B461A8}"/>
    <pc:docChg chg="undo redo custSel addSld delSld modSld sldOrd delMainMaster">
      <pc:chgData name="Yiqun Dai" userId="360a2182-b97f-4635-b990-04f846616e33" providerId="ADAL" clId="{8F04EA49-0EFC-48F3-A4D8-E0F0D3B461A8}" dt="2025-11-10T02:46:26.477" v="282994" actId="47"/>
      <pc:docMkLst>
        <pc:docMk/>
      </pc:docMkLst>
      <pc:sldChg chg="add del">
        <pc:chgData name="Yiqun Dai" userId="360a2182-b97f-4635-b990-04f846616e33" providerId="ADAL" clId="{8F04EA49-0EFC-48F3-A4D8-E0F0D3B461A8}" dt="2025-11-10T02:46:26.477" v="282994" actId="47"/>
        <pc:sldMkLst>
          <pc:docMk/>
          <pc:sldMk cId="1492439054" sldId="257"/>
        </pc:sldMkLst>
      </pc:sldChg>
      <pc:sldChg chg="add del">
        <pc:chgData name="Yiqun Dai" userId="360a2182-b97f-4635-b990-04f846616e33" providerId="ADAL" clId="{8F04EA49-0EFC-48F3-A4D8-E0F0D3B461A8}" dt="2025-11-10T02:46:26.477" v="282994" actId="47"/>
        <pc:sldMkLst>
          <pc:docMk/>
          <pc:sldMk cId="30079384" sldId="258"/>
        </pc:sldMkLst>
      </pc:sldChg>
      <pc:sldChg chg="add del">
        <pc:chgData name="Yiqun Dai" userId="360a2182-b97f-4635-b990-04f846616e33" providerId="ADAL" clId="{8F04EA49-0EFC-48F3-A4D8-E0F0D3B461A8}" dt="2025-11-10T02:46:26.477" v="282994" actId="47"/>
        <pc:sldMkLst>
          <pc:docMk/>
          <pc:sldMk cId="3507155979" sldId="259"/>
        </pc:sldMkLst>
      </pc:sldChg>
      <pc:sldChg chg="add del">
        <pc:chgData name="Yiqun Dai" userId="360a2182-b97f-4635-b990-04f846616e33" providerId="ADAL" clId="{8F04EA49-0EFC-48F3-A4D8-E0F0D3B461A8}" dt="2025-11-10T02:46:26.477" v="282994" actId="47"/>
        <pc:sldMkLst>
          <pc:docMk/>
          <pc:sldMk cId="405102438" sldId="260"/>
        </pc:sldMkLst>
      </pc:sldChg>
      <pc:sldChg chg="addSp delSp modSp del mod">
        <pc:chgData name="Yiqun Dai" userId="360a2182-b97f-4635-b990-04f846616e33" providerId="ADAL" clId="{8F04EA49-0EFC-48F3-A4D8-E0F0D3B461A8}" dt="2025-11-10T02:46:16.884" v="282993" actId="47"/>
        <pc:sldMkLst>
          <pc:docMk/>
          <pc:sldMk cId="398489134" sldId="2147480002"/>
        </pc:sldMkLst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1759696941" sldId="2147480004"/>
        </pc:sldMkLst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4179630826" sldId="2147480007"/>
        </pc:sldMkLst>
      </pc:sldChg>
      <pc:sldChg chg="modSp add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2053093135" sldId="2147480009"/>
        </pc:sldMkLst>
        <pc:graphicFrameChg chg="mod">
          <ac:chgData name="Yiqun Dai" userId="360a2182-b97f-4635-b990-04f846616e33" providerId="ADAL" clId="{8F04EA49-0EFC-48F3-A4D8-E0F0D3B461A8}" dt="2025-10-13T06:05:23.907" v="112451"/>
          <ac:graphicFrameMkLst>
            <pc:docMk/>
            <pc:sldMk cId="2053093135" sldId="2147480009"/>
            <ac:graphicFrameMk id="4" creationId="{1E9E50CE-4D2C-7638-4613-A58951E4BA5C}"/>
          </ac:graphicFrameMkLst>
        </pc:graphicFrameChg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1975868388" sldId="2147481909"/>
        </pc:sldMkLst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1726974624" sldId="2147481910"/>
        </pc:sldMkLst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196450259" sldId="2147481911"/>
        </pc:sldMkLst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3354856402" sldId="2147481913"/>
        </pc:sldMkLst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2042820128" sldId="2147481914"/>
        </pc:sldMkLst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3380918619" sldId="2147481915"/>
        </pc:sldMkLst>
      </pc:sldChg>
      <pc:sldChg chg="modSp add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254824688" sldId="2147481916"/>
        </pc:sldMkLst>
        <pc:graphicFrameChg chg="mod">
          <ac:chgData name="Yiqun Dai" userId="360a2182-b97f-4635-b990-04f846616e33" providerId="ADAL" clId="{8F04EA49-0EFC-48F3-A4D8-E0F0D3B461A8}" dt="2025-10-13T06:05:04.248" v="112445"/>
          <ac:graphicFrameMkLst>
            <pc:docMk/>
            <pc:sldMk cId="254824688" sldId="2147481916"/>
            <ac:graphicFrameMk id="3" creationId="{583BC0CC-4A43-6674-20C4-29281E4353C9}"/>
          </ac:graphicFrameMkLst>
        </pc:graphicFrameChg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1278367536" sldId="2147481918"/>
        </pc:sldMkLst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2810638643" sldId="2147481919"/>
        </pc:sldMkLst>
      </pc:sldChg>
      <pc:sldChg chg="del">
        <pc:chgData name="Yiqun Dai" userId="360a2182-b97f-4635-b990-04f846616e33" providerId="ADAL" clId="{8F04EA49-0EFC-48F3-A4D8-E0F0D3B461A8}" dt="2025-11-10T02:46:26.477" v="282994" actId="47"/>
        <pc:sldMkLst>
          <pc:docMk/>
          <pc:sldMk cId="205316661" sldId="2147481929"/>
        </pc:sldMkLst>
      </pc:sldChg>
      <pc:sldChg chg="addSp delSp modSp new del mod ord">
        <pc:chgData name="Yiqun Dai" userId="360a2182-b97f-4635-b990-04f846616e33" providerId="ADAL" clId="{8F04EA49-0EFC-48F3-A4D8-E0F0D3B461A8}" dt="2025-11-10T02:46:26.477" v="282994" actId="47"/>
        <pc:sldMkLst>
          <pc:docMk/>
          <pc:sldMk cId="3568808484" sldId="2147481930"/>
        </pc:sldMkLst>
        <pc:spChg chg="mod ord">
          <ac:chgData name="Yiqun Dai" userId="360a2182-b97f-4635-b990-04f846616e33" providerId="ADAL" clId="{8F04EA49-0EFC-48F3-A4D8-E0F0D3B461A8}" dt="2025-10-12T02:09:54.708" v="92199" actId="948"/>
          <ac:spMkLst>
            <pc:docMk/>
            <pc:sldMk cId="3568808484" sldId="2147481930"/>
            <ac:spMk id="2" creationId="{39A00C0B-F679-7159-B550-38C4962A6F4A}"/>
          </ac:spMkLst>
        </pc:spChg>
        <pc:spChg chg="add mod">
          <ac:chgData name="Yiqun Dai" userId="360a2182-b97f-4635-b990-04f846616e33" providerId="ADAL" clId="{8F04EA49-0EFC-48F3-A4D8-E0F0D3B461A8}" dt="2025-10-11T00:52:59.601" v="84735"/>
          <ac:spMkLst>
            <pc:docMk/>
            <pc:sldMk cId="3568808484" sldId="2147481930"/>
            <ac:spMk id="6" creationId="{0895951C-BE9A-0836-165D-C589C042F482}"/>
          </ac:spMkLst>
        </pc:spChg>
        <pc:spChg chg="add mod">
          <ac:chgData name="Yiqun Dai" userId="360a2182-b97f-4635-b990-04f846616e33" providerId="ADAL" clId="{8F04EA49-0EFC-48F3-A4D8-E0F0D3B461A8}" dt="2025-10-11T00:52:59.601" v="84736"/>
          <ac:spMkLst>
            <pc:docMk/>
            <pc:sldMk cId="3568808484" sldId="2147481930"/>
            <ac:spMk id="8" creationId="{1E1A8FDA-D1D1-AA64-7402-C3046578B8BD}"/>
          </ac:spMkLst>
        </pc:spChg>
        <pc:spChg chg="add mod">
          <ac:chgData name="Yiqun Dai" userId="360a2182-b97f-4635-b990-04f846616e33" providerId="ADAL" clId="{8F04EA49-0EFC-48F3-A4D8-E0F0D3B461A8}" dt="2025-10-11T00:52:59.607" v="84737"/>
          <ac:spMkLst>
            <pc:docMk/>
            <pc:sldMk cId="3568808484" sldId="2147481930"/>
            <ac:spMk id="9" creationId="{C092E1CB-2DDF-7990-5AB9-49AAB5914937}"/>
          </ac:spMkLst>
        </pc:spChg>
        <pc:spChg chg="add mod">
          <ac:chgData name="Yiqun Dai" userId="360a2182-b97f-4635-b990-04f846616e33" providerId="ADAL" clId="{8F04EA49-0EFC-48F3-A4D8-E0F0D3B461A8}" dt="2025-10-11T00:52:59.607" v="84738"/>
          <ac:spMkLst>
            <pc:docMk/>
            <pc:sldMk cId="3568808484" sldId="2147481930"/>
            <ac:spMk id="24" creationId="{02631FAE-2A52-F922-9D08-B1571E8F6AF6}"/>
          </ac:spMkLst>
        </pc:spChg>
        <pc:spChg chg="add mod">
          <ac:chgData name="Yiqun Dai" userId="360a2182-b97f-4635-b990-04f846616e33" providerId="ADAL" clId="{8F04EA49-0EFC-48F3-A4D8-E0F0D3B461A8}" dt="2025-10-11T00:52:59.607" v="84739"/>
          <ac:spMkLst>
            <pc:docMk/>
            <pc:sldMk cId="3568808484" sldId="2147481930"/>
            <ac:spMk id="25" creationId="{34366C6F-0E86-7C3A-D58F-3C94C0829B6A}"/>
          </ac:spMkLst>
        </pc:spChg>
        <pc:spChg chg="add mod ord">
          <ac:chgData name="Yiqun Dai" userId="360a2182-b97f-4635-b990-04f846616e33" providerId="ADAL" clId="{8F04EA49-0EFC-48F3-A4D8-E0F0D3B461A8}" dt="2025-10-11T00:52:59.607" v="84741"/>
          <ac:spMkLst>
            <pc:docMk/>
            <pc:sldMk cId="3568808484" sldId="2147481930"/>
            <ac:spMk id="102" creationId="{B99FF0BF-5112-520F-8AD0-FDBAE16AABEE}"/>
          </ac:spMkLst>
        </pc:spChg>
        <pc:spChg chg="add mod ord">
          <ac:chgData name="Yiqun Dai" userId="360a2182-b97f-4635-b990-04f846616e33" providerId="ADAL" clId="{8F04EA49-0EFC-48F3-A4D8-E0F0D3B461A8}" dt="2025-10-11T00:52:59.611" v="84745"/>
          <ac:spMkLst>
            <pc:docMk/>
            <pc:sldMk cId="3568808484" sldId="2147481930"/>
            <ac:spMk id="148" creationId="{D5A30386-DBA0-7A38-7003-E3278DA58C16}"/>
          </ac:spMkLst>
        </pc:spChg>
        <pc:spChg chg="add mod ord">
          <ac:chgData name="Yiqun Dai" userId="360a2182-b97f-4635-b990-04f846616e33" providerId="ADAL" clId="{8F04EA49-0EFC-48F3-A4D8-E0F0D3B461A8}" dt="2025-10-11T00:52:59.611" v="84747"/>
          <ac:spMkLst>
            <pc:docMk/>
            <pc:sldMk cId="3568808484" sldId="2147481930"/>
            <ac:spMk id="156" creationId="{1B046CA3-E00D-02BC-6DA3-124E25B3794E}"/>
          </ac:spMkLst>
        </pc:spChg>
        <pc:graphicFrameChg chg="add mod ord modVis">
          <ac:chgData name="Yiqun Dai" userId="360a2182-b97f-4635-b990-04f846616e33" providerId="ADAL" clId="{8F04EA49-0EFC-48F3-A4D8-E0F0D3B461A8}" dt="2025-10-12T02:09:54.723" v="92201"/>
          <ac:graphicFrameMkLst>
            <pc:docMk/>
            <pc:sldMk cId="3568808484" sldId="2147481930"/>
            <ac:graphicFrameMk id="13" creationId="{91FF847D-61BE-B470-EC2C-8FDA41AC1B95}"/>
          </ac:graphicFrameMkLst>
        </pc:graphicFrameChg>
        <pc:graphicFrameChg chg="add mod ord">
          <ac:chgData name="Yiqun Dai" userId="360a2182-b97f-4635-b990-04f846616e33" providerId="ADAL" clId="{8F04EA49-0EFC-48F3-A4D8-E0F0D3B461A8}" dt="2025-10-11T00:52:59.601" v="84734"/>
          <ac:graphicFrameMkLst>
            <pc:docMk/>
            <pc:sldMk cId="3568808484" sldId="2147481930"/>
            <ac:graphicFrameMk id="16" creationId="{58AC35BA-1E0C-1CD8-E6CD-FC72F782A8F2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1T00:53:19.369" v="84760" actId="207"/>
          <ac:graphicFrameMkLst>
            <pc:docMk/>
            <pc:sldMk cId="3568808484" sldId="2147481930"/>
            <ac:graphicFrameMk id="129" creationId="{9E727365-0DCA-9C39-CF98-DFB4A282778B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1T00:52:59.611" v="84749"/>
          <ac:graphicFrameMkLst>
            <pc:docMk/>
            <pc:sldMk cId="3568808484" sldId="2147481930"/>
            <ac:graphicFrameMk id="161" creationId="{96136F6B-3FFB-3D4C-7F27-C8C5E8B16301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1T00:52:59.613" v="84751"/>
          <ac:graphicFrameMkLst>
            <pc:docMk/>
            <pc:sldMk cId="3568808484" sldId="2147481930"/>
            <ac:graphicFrameMk id="162" creationId="{CAF3D428-EDDD-D848-BBAD-2CCCDEE41345}"/>
          </ac:graphicFrameMkLst>
        </pc:graphicFrameChg>
        <pc:cxnChg chg="add mod ord">
          <ac:chgData name="Yiqun Dai" userId="360a2182-b97f-4635-b990-04f846616e33" providerId="ADAL" clId="{8F04EA49-0EFC-48F3-A4D8-E0F0D3B461A8}" dt="2025-10-11T00:52:59.601" v="84726"/>
          <ac:cxnSpMkLst>
            <pc:docMk/>
            <pc:sldMk cId="3568808484" sldId="2147481930"/>
            <ac:cxnSpMk id="10" creationId="{1DD178AA-E65B-A64B-BE83-7A130B1A7DD7}"/>
          </ac:cxnSpMkLst>
        </pc:cxnChg>
        <pc:cxnChg chg="add mod ord">
          <ac:chgData name="Yiqun Dai" userId="360a2182-b97f-4635-b990-04f846616e33" providerId="ADAL" clId="{8F04EA49-0EFC-48F3-A4D8-E0F0D3B461A8}" dt="2025-10-11T00:52:59.601" v="84728"/>
          <ac:cxnSpMkLst>
            <pc:docMk/>
            <pc:sldMk cId="3568808484" sldId="2147481930"/>
            <ac:cxnSpMk id="11" creationId="{B7E39E64-51E8-B2CD-03BB-0A8F9F3DCF71}"/>
          </ac:cxnSpMkLst>
        </pc:cxnChg>
        <pc:cxnChg chg="add mod ord">
          <ac:chgData name="Yiqun Dai" userId="360a2182-b97f-4635-b990-04f846616e33" providerId="ADAL" clId="{8F04EA49-0EFC-48F3-A4D8-E0F0D3B461A8}" dt="2025-10-11T00:52:59.601" v="84730"/>
          <ac:cxnSpMkLst>
            <pc:docMk/>
            <pc:sldMk cId="3568808484" sldId="2147481930"/>
            <ac:cxnSpMk id="29" creationId="{56FFE01A-35C4-A4B0-8961-EC384FEAA508}"/>
          </ac:cxnSpMkLst>
        </pc:cxnChg>
        <pc:cxnChg chg="add mod ord">
          <ac:chgData name="Yiqun Dai" userId="360a2182-b97f-4635-b990-04f846616e33" providerId="ADAL" clId="{8F04EA49-0EFC-48F3-A4D8-E0F0D3B461A8}" dt="2025-10-11T00:52:59.601" v="84732"/>
          <ac:cxnSpMkLst>
            <pc:docMk/>
            <pc:sldMk cId="3568808484" sldId="2147481930"/>
            <ac:cxnSpMk id="30" creationId="{30D02998-32AC-3B65-4BD3-62C14FF92119}"/>
          </ac:cxnSpMkLst>
        </pc:cxnChg>
      </pc:sldChg>
      <pc:sldChg chg="addSp delSp modSp new mod ord modNotesTx">
        <pc:chgData name="Yiqun Dai" userId="360a2182-b97f-4635-b990-04f846616e33" providerId="ADAL" clId="{8F04EA49-0EFC-48F3-A4D8-E0F0D3B461A8}" dt="2025-11-08T11:37:49.995" v="249676"/>
        <pc:sldMkLst>
          <pc:docMk/>
          <pc:sldMk cId="317869439" sldId="2147481931"/>
        </pc:sldMkLst>
        <pc:spChg chg="mod ord">
          <ac:chgData name="Yiqun Dai" userId="360a2182-b97f-4635-b990-04f846616e33" providerId="ADAL" clId="{8F04EA49-0EFC-48F3-A4D8-E0F0D3B461A8}" dt="2025-11-08T11:37:39.447" v="249558"/>
          <ac:spMkLst>
            <pc:docMk/>
            <pc:sldMk cId="317869439" sldId="2147481931"/>
            <ac:spMk id="2" creationId="{36443FED-FD0D-DC17-31B8-E4DA4C086FDF}"/>
          </ac:spMkLst>
        </pc:spChg>
        <pc:spChg chg="add mod">
          <ac:chgData name="Yiqun Dai" userId="360a2182-b97f-4635-b990-04f846616e33" providerId="ADAL" clId="{8F04EA49-0EFC-48F3-A4D8-E0F0D3B461A8}" dt="2025-11-08T11:37:39.510" v="249665"/>
          <ac:spMkLst>
            <pc:docMk/>
            <pc:sldMk cId="317869439" sldId="2147481931"/>
            <ac:spMk id="6" creationId="{0DC9A1BE-9AA0-1C8C-7A3F-1D0DD8777E0F}"/>
          </ac:spMkLst>
        </pc:spChg>
        <pc:spChg chg="add mod">
          <ac:chgData name="Yiqun Dai" userId="360a2182-b97f-4635-b990-04f846616e33" providerId="ADAL" clId="{8F04EA49-0EFC-48F3-A4D8-E0F0D3B461A8}" dt="2025-11-08T11:37:39.526" v="249666"/>
          <ac:spMkLst>
            <pc:docMk/>
            <pc:sldMk cId="317869439" sldId="2147481931"/>
            <ac:spMk id="7" creationId="{A3064D15-7E1B-5E62-2E30-AC6C66B51D54}"/>
          </ac:spMkLst>
        </pc:spChg>
        <pc:spChg chg="add mod">
          <ac:chgData name="Yiqun Dai" userId="360a2182-b97f-4635-b990-04f846616e33" providerId="ADAL" clId="{8F04EA49-0EFC-48F3-A4D8-E0F0D3B461A8}" dt="2025-11-08T11:37:39.526" v="249667"/>
          <ac:spMkLst>
            <pc:docMk/>
            <pc:sldMk cId="317869439" sldId="2147481931"/>
            <ac:spMk id="8" creationId="{955C64BA-A0B9-C05A-3633-7D3FDA3294FD}"/>
          </ac:spMkLst>
        </pc:spChg>
        <pc:spChg chg="add mod">
          <ac:chgData name="Yiqun Dai" userId="360a2182-b97f-4635-b990-04f846616e33" providerId="ADAL" clId="{8F04EA49-0EFC-48F3-A4D8-E0F0D3B461A8}" dt="2025-11-08T11:37:39.526" v="249668"/>
          <ac:spMkLst>
            <pc:docMk/>
            <pc:sldMk cId="317869439" sldId="2147481931"/>
            <ac:spMk id="9" creationId="{D69C7873-BE91-B253-DC9C-489D16FD64A5}"/>
          </ac:spMkLst>
        </pc:spChg>
        <pc:spChg chg="add mod">
          <ac:chgData name="Yiqun Dai" userId="360a2182-b97f-4635-b990-04f846616e33" providerId="ADAL" clId="{8F04EA49-0EFC-48F3-A4D8-E0F0D3B461A8}" dt="2025-11-08T11:37:39.526" v="249669"/>
          <ac:spMkLst>
            <pc:docMk/>
            <pc:sldMk cId="317869439" sldId="2147481931"/>
            <ac:spMk id="10" creationId="{8A7B12D6-922A-4601-3B99-646531F3C222}"/>
          </ac:spMkLst>
        </pc:spChg>
        <pc:spChg chg="add mod">
          <ac:chgData name="Yiqun Dai" userId="360a2182-b97f-4635-b990-04f846616e33" providerId="ADAL" clId="{8F04EA49-0EFC-48F3-A4D8-E0F0D3B461A8}" dt="2025-11-08T11:37:39.526" v="249670"/>
          <ac:spMkLst>
            <pc:docMk/>
            <pc:sldMk cId="317869439" sldId="2147481931"/>
            <ac:spMk id="11" creationId="{4F36B3C0-7F01-131F-23AA-CD9F5F6F6F5C}"/>
          </ac:spMkLst>
        </pc:spChg>
        <pc:spChg chg="add mod">
          <ac:chgData name="Yiqun Dai" userId="360a2182-b97f-4635-b990-04f846616e33" providerId="ADAL" clId="{8F04EA49-0EFC-48F3-A4D8-E0F0D3B461A8}" dt="2025-11-08T11:37:39.526" v="249671"/>
          <ac:spMkLst>
            <pc:docMk/>
            <pc:sldMk cId="317869439" sldId="2147481931"/>
            <ac:spMk id="12" creationId="{C521A423-3549-2919-98B1-C36EBE9E6FE4}"/>
          </ac:spMkLst>
        </pc:spChg>
        <pc:spChg chg="add mod">
          <ac:chgData name="Yiqun Dai" userId="360a2182-b97f-4635-b990-04f846616e33" providerId="ADAL" clId="{8F04EA49-0EFC-48F3-A4D8-E0F0D3B461A8}" dt="2025-11-08T11:37:39.526" v="249672"/>
          <ac:spMkLst>
            <pc:docMk/>
            <pc:sldMk cId="317869439" sldId="2147481931"/>
            <ac:spMk id="13" creationId="{77E40A6D-AD41-984B-2BEC-00627D82E49E}"/>
          </ac:spMkLst>
        </pc:spChg>
        <pc:spChg chg="add mod">
          <ac:chgData name="Yiqun Dai" userId="360a2182-b97f-4635-b990-04f846616e33" providerId="ADAL" clId="{8F04EA49-0EFC-48F3-A4D8-E0F0D3B461A8}" dt="2025-11-08T11:37:39.464" v="249577"/>
          <ac:spMkLst>
            <pc:docMk/>
            <pc:sldMk cId="317869439" sldId="2147481931"/>
            <ac:spMk id="14" creationId="{9714E7D5-9892-6632-3199-747D40696A09}"/>
          </ac:spMkLst>
        </pc:spChg>
        <pc:spChg chg="add mod">
          <ac:chgData name="Yiqun Dai" userId="360a2182-b97f-4635-b990-04f846616e33" providerId="ADAL" clId="{8F04EA49-0EFC-48F3-A4D8-E0F0D3B461A8}" dt="2025-11-08T11:37:39.464" v="249578"/>
          <ac:spMkLst>
            <pc:docMk/>
            <pc:sldMk cId="317869439" sldId="2147481931"/>
            <ac:spMk id="15" creationId="{E91BF01B-877C-7019-2DB4-11835F8E22C2}"/>
          </ac:spMkLst>
        </pc:spChg>
        <pc:spChg chg="add mod">
          <ac:chgData name="Yiqun Dai" userId="360a2182-b97f-4635-b990-04f846616e33" providerId="ADAL" clId="{8F04EA49-0EFC-48F3-A4D8-E0F0D3B461A8}" dt="2025-11-08T11:37:39.464" v="249579"/>
          <ac:spMkLst>
            <pc:docMk/>
            <pc:sldMk cId="317869439" sldId="2147481931"/>
            <ac:spMk id="17" creationId="{D9579A60-33DA-EFDE-88A2-38B29FFD4E5B}"/>
          </ac:spMkLst>
        </pc:spChg>
        <pc:spChg chg="add mod">
          <ac:chgData name="Yiqun Dai" userId="360a2182-b97f-4635-b990-04f846616e33" providerId="ADAL" clId="{8F04EA49-0EFC-48F3-A4D8-E0F0D3B461A8}" dt="2025-11-08T11:37:39.464" v="249587"/>
          <ac:spMkLst>
            <pc:docMk/>
            <pc:sldMk cId="317869439" sldId="2147481931"/>
            <ac:spMk id="18" creationId="{BCBC75D5-9947-393A-32A4-67A1443536ED}"/>
          </ac:spMkLst>
        </pc:spChg>
        <pc:spChg chg="add mod ord">
          <ac:chgData name="Yiqun Dai" userId="360a2182-b97f-4635-b990-04f846616e33" providerId="ADAL" clId="{8F04EA49-0EFC-48F3-A4D8-E0F0D3B461A8}" dt="2025-11-08T11:37:39.464" v="249581"/>
          <ac:spMkLst>
            <pc:docMk/>
            <pc:sldMk cId="317869439" sldId="2147481931"/>
            <ac:spMk id="19" creationId="{EB7CCEC5-3C5A-ED80-902C-9A2438DCEE4A}"/>
          </ac:spMkLst>
        </pc:spChg>
        <pc:spChg chg="add mod">
          <ac:chgData name="Yiqun Dai" userId="360a2182-b97f-4635-b990-04f846616e33" providerId="ADAL" clId="{8F04EA49-0EFC-48F3-A4D8-E0F0D3B461A8}" dt="2025-11-08T11:37:39.479" v="249599"/>
          <ac:spMkLst>
            <pc:docMk/>
            <pc:sldMk cId="317869439" sldId="2147481931"/>
            <ac:spMk id="20" creationId="{DD9A3430-D7A5-1E2E-4F83-3678F5A5D5D8}"/>
          </ac:spMkLst>
        </pc:spChg>
        <pc:spChg chg="add mod ord">
          <ac:chgData name="Yiqun Dai" userId="360a2182-b97f-4635-b990-04f846616e33" providerId="ADAL" clId="{8F04EA49-0EFC-48F3-A4D8-E0F0D3B461A8}" dt="2025-11-08T11:37:39.464" v="249583"/>
          <ac:spMkLst>
            <pc:docMk/>
            <pc:sldMk cId="317869439" sldId="2147481931"/>
            <ac:spMk id="21" creationId="{B0BCF451-911F-1D2A-4E63-00D8C1AF70E4}"/>
          </ac:spMkLst>
        </pc:spChg>
        <pc:spChg chg="add mod">
          <ac:chgData name="Yiqun Dai" userId="360a2182-b97f-4635-b990-04f846616e33" providerId="ADAL" clId="{8F04EA49-0EFC-48F3-A4D8-E0F0D3B461A8}" dt="2025-11-08T11:37:39.464" v="249584"/>
          <ac:spMkLst>
            <pc:docMk/>
            <pc:sldMk cId="317869439" sldId="2147481931"/>
            <ac:spMk id="22" creationId="{D82FE366-B49F-4806-DF1D-F061D881514B}"/>
          </ac:spMkLst>
        </pc:spChg>
        <pc:spChg chg="add mod">
          <ac:chgData name="Yiqun Dai" userId="360a2182-b97f-4635-b990-04f846616e33" providerId="ADAL" clId="{8F04EA49-0EFC-48F3-A4D8-E0F0D3B461A8}" dt="2025-11-08T11:37:39.464" v="249585"/>
          <ac:spMkLst>
            <pc:docMk/>
            <pc:sldMk cId="317869439" sldId="2147481931"/>
            <ac:spMk id="23" creationId="{8D2C4A28-CF5A-5CF4-4FF8-1F47C9F9F22A}"/>
          </ac:spMkLst>
        </pc:spChg>
        <pc:spChg chg="add mod">
          <ac:chgData name="Yiqun Dai" userId="360a2182-b97f-4635-b990-04f846616e33" providerId="ADAL" clId="{8F04EA49-0EFC-48F3-A4D8-E0F0D3B461A8}" dt="2025-11-08T11:37:39.464" v="249586"/>
          <ac:spMkLst>
            <pc:docMk/>
            <pc:sldMk cId="317869439" sldId="2147481931"/>
            <ac:spMk id="24" creationId="{1BB7F63E-EAAF-87C5-3A15-A78E5476572A}"/>
          </ac:spMkLst>
        </pc:spChg>
        <pc:spChg chg="add mod">
          <ac:chgData name="Yiqun Dai" userId="360a2182-b97f-4635-b990-04f846616e33" providerId="ADAL" clId="{8F04EA49-0EFC-48F3-A4D8-E0F0D3B461A8}" dt="2025-11-08T11:37:39.479" v="249600"/>
          <ac:spMkLst>
            <pc:docMk/>
            <pc:sldMk cId="317869439" sldId="2147481931"/>
            <ac:spMk id="25" creationId="{D6D42341-3911-A45E-6249-9A2DDC258DEF}"/>
          </ac:spMkLst>
        </pc:spChg>
        <pc:spChg chg="add mod">
          <ac:chgData name="Yiqun Dai" userId="360a2182-b97f-4635-b990-04f846616e33" providerId="ADAL" clId="{8F04EA49-0EFC-48F3-A4D8-E0F0D3B461A8}" dt="2025-11-08T11:37:39.464" v="249588"/>
          <ac:spMkLst>
            <pc:docMk/>
            <pc:sldMk cId="317869439" sldId="2147481931"/>
            <ac:spMk id="26" creationId="{FCA0A87C-1C6B-BFA7-9D48-5A56757E48F8}"/>
          </ac:spMkLst>
        </pc:spChg>
        <pc:spChg chg="add mod ord">
          <ac:chgData name="Yiqun Dai" userId="360a2182-b97f-4635-b990-04f846616e33" providerId="ADAL" clId="{8F04EA49-0EFC-48F3-A4D8-E0F0D3B461A8}" dt="2025-11-08T11:37:39.464" v="249590"/>
          <ac:spMkLst>
            <pc:docMk/>
            <pc:sldMk cId="317869439" sldId="2147481931"/>
            <ac:spMk id="27" creationId="{482BEB0F-8F52-39A0-AFDE-DDC409B4B6F3}"/>
          </ac:spMkLst>
        </pc:spChg>
        <pc:spChg chg="add mod">
          <ac:chgData name="Yiqun Dai" userId="360a2182-b97f-4635-b990-04f846616e33" providerId="ADAL" clId="{8F04EA49-0EFC-48F3-A4D8-E0F0D3B461A8}" dt="2025-11-08T11:37:39.479" v="249591"/>
          <ac:spMkLst>
            <pc:docMk/>
            <pc:sldMk cId="317869439" sldId="2147481931"/>
            <ac:spMk id="28" creationId="{2B2A774E-0221-5AC7-2DA2-F02757E45FCF}"/>
          </ac:spMkLst>
        </pc:spChg>
        <pc:spChg chg="add mod ord">
          <ac:chgData name="Yiqun Dai" userId="360a2182-b97f-4635-b990-04f846616e33" providerId="ADAL" clId="{8F04EA49-0EFC-48F3-A4D8-E0F0D3B461A8}" dt="2025-11-08T11:37:39.479" v="249593"/>
          <ac:spMkLst>
            <pc:docMk/>
            <pc:sldMk cId="317869439" sldId="2147481931"/>
            <ac:spMk id="29" creationId="{0F725E83-64D2-51A8-3A35-7F2D3B610660}"/>
          </ac:spMkLst>
        </pc:spChg>
        <pc:spChg chg="add mod ord">
          <ac:chgData name="Yiqun Dai" userId="360a2182-b97f-4635-b990-04f846616e33" providerId="ADAL" clId="{8F04EA49-0EFC-48F3-A4D8-E0F0D3B461A8}" dt="2025-11-08T11:37:39.479" v="249595"/>
          <ac:spMkLst>
            <pc:docMk/>
            <pc:sldMk cId="317869439" sldId="2147481931"/>
            <ac:spMk id="30" creationId="{3747B6B7-45AC-9105-EDB8-B7558EE2604D}"/>
          </ac:spMkLst>
        </pc:spChg>
        <pc:spChg chg="add mod">
          <ac:chgData name="Yiqun Dai" userId="360a2182-b97f-4635-b990-04f846616e33" providerId="ADAL" clId="{8F04EA49-0EFC-48F3-A4D8-E0F0D3B461A8}" dt="2025-11-08T11:37:39.479" v="249596"/>
          <ac:spMkLst>
            <pc:docMk/>
            <pc:sldMk cId="317869439" sldId="2147481931"/>
            <ac:spMk id="31" creationId="{A1500145-8EBF-0567-0D08-B5C362C44306}"/>
          </ac:spMkLst>
        </pc:spChg>
        <pc:spChg chg="add mod">
          <ac:chgData name="Yiqun Dai" userId="360a2182-b97f-4635-b990-04f846616e33" providerId="ADAL" clId="{8F04EA49-0EFC-48F3-A4D8-E0F0D3B461A8}" dt="2025-11-08T11:37:39.479" v="249597"/>
          <ac:spMkLst>
            <pc:docMk/>
            <pc:sldMk cId="317869439" sldId="2147481931"/>
            <ac:spMk id="32" creationId="{A2A12C4D-776E-B909-6C93-3AA55E2D80AE}"/>
          </ac:spMkLst>
        </pc:spChg>
        <pc:spChg chg="add mod">
          <ac:chgData name="Yiqun Dai" userId="360a2182-b97f-4635-b990-04f846616e33" providerId="ADAL" clId="{8F04EA49-0EFC-48F3-A4D8-E0F0D3B461A8}" dt="2025-11-08T11:37:39.479" v="249598"/>
          <ac:spMkLst>
            <pc:docMk/>
            <pc:sldMk cId="317869439" sldId="2147481931"/>
            <ac:spMk id="33" creationId="{5EF1C3A3-CAC3-70DF-B0E8-778CABBEC01E}"/>
          </ac:spMkLst>
        </pc:spChg>
        <pc:spChg chg="add mod">
          <ac:chgData name="Yiqun Dai" userId="360a2182-b97f-4635-b990-04f846616e33" providerId="ADAL" clId="{8F04EA49-0EFC-48F3-A4D8-E0F0D3B461A8}" dt="2025-11-08T11:37:39.479" v="249601"/>
          <ac:spMkLst>
            <pc:docMk/>
            <pc:sldMk cId="317869439" sldId="2147481931"/>
            <ac:spMk id="34" creationId="{692F588D-9EDE-A165-C962-04D121028EDE}"/>
          </ac:spMkLst>
        </pc:spChg>
        <pc:spChg chg="add mod">
          <ac:chgData name="Yiqun Dai" userId="360a2182-b97f-4635-b990-04f846616e33" providerId="ADAL" clId="{8F04EA49-0EFC-48F3-A4D8-E0F0D3B461A8}" dt="2025-11-08T11:37:39.510" v="249657"/>
          <ac:spMkLst>
            <pc:docMk/>
            <pc:sldMk cId="317869439" sldId="2147481931"/>
            <ac:spMk id="54" creationId="{3A96AD27-770D-1604-5C10-D0E8E2ACC7CB}"/>
          </ac:spMkLst>
        </pc:spChg>
        <pc:spChg chg="add mod">
          <ac:chgData name="Yiqun Dai" userId="360a2182-b97f-4635-b990-04f846616e33" providerId="ADAL" clId="{8F04EA49-0EFC-48F3-A4D8-E0F0D3B461A8}" dt="2025-11-08T11:37:39.510" v="249658"/>
          <ac:spMkLst>
            <pc:docMk/>
            <pc:sldMk cId="317869439" sldId="2147481931"/>
            <ac:spMk id="55" creationId="{6FA2D864-C595-D53B-EBD6-D991E359B8ED}"/>
          </ac:spMkLst>
        </pc:spChg>
        <pc:spChg chg="add mod">
          <ac:chgData name="Yiqun Dai" userId="360a2182-b97f-4635-b990-04f846616e33" providerId="ADAL" clId="{8F04EA49-0EFC-48F3-A4D8-E0F0D3B461A8}" dt="2025-11-08T11:37:39.510" v="249659"/>
          <ac:spMkLst>
            <pc:docMk/>
            <pc:sldMk cId="317869439" sldId="2147481931"/>
            <ac:spMk id="56" creationId="{524E1A60-8D8D-8573-0C84-4D08538F1BF3}"/>
          </ac:spMkLst>
        </pc:spChg>
        <pc:spChg chg="add mod">
          <ac:chgData name="Yiqun Dai" userId="360a2182-b97f-4635-b990-04f846616e33" providerId="ADAL" clId="{8F04EA49-0EFC-48F3-A4D8-E0F0D3B461A8}" dt="2025-11-08T11:37:39.510" v="249660"/>
          <ac:spMkLst>
            <pc:docMk/>
            <pc:sldMk cId="317869439" sldId="2147481931"/>
            <ac:spMk id="57" creationId="{60B6995E-AAA1-9007-4B22-D422E929C909}"/>
          </ac:spMkLst>
        </pc:spChg>
        <pc:spChg chg="add mod">
          <ac:chgData name="Yiqun Dai" userId="360a2182-b97f-4635-b990-04f846616e33" providerId="ADAL" clId="{8F04EA49-0EFC-48F3-A4D8-E0F0D3B461A8}" dt="2025-11-08T11:37:39.510" v="249661"/>
          <ac:spMkLst>
            <pc:docMk/>
            <pc:sldMk cId="317869439" sldId="2147481931"/>
            <ac:spMk id="58" creationId="{DDE99BF2-A0C2-AAAC-8B6F-EF39A5879B7C}"/>
          </ac:spMkLst>
        </pc:spChg>
        <pc:spChg chg="add mod">
          <ac:chgData name="Yiqun Dai" userId="360a2182-b97f-4635-b990-04f846616e33" providerId="ADAL" clId="{8F04EA49-0EFC-48F3-A4D8-E0F0D3B461A8}" dt="2025-11-08T11:37:39.510" v="249662"/>
          <ac:spMkLst>
            <pc:docMk/>
            <pc:sldMk cId="317869439" sldId="2147481931"/>
            <ac:spMk id="59" creationId="{873F987F-6241-337D-893B-A05A9B5185CA}"/>
          </ac:spMkLst>
        </pc:spChg>
        <pc:spChg chg="add mod">
          <ac:chgData name="Yiqun Dai" userId="360a2182-b97f-4635-b990-04f846616e33" providerId="ADAL" clId="{8F04EA49-0EFC-48F3-A4D8-E0F0D3B461A8}" dt="2025-11-08T11:37:39.510" v="249663"/>
          <ac:spMkLst>
            <pc:docMk/>
            <pc:sldMk cId="317869439" sldId="2147481931"/>
            <ac:spMk id="60" creationId="{382C2D33-B6C1-73D0-4E2C-A6C7069B9509}"/>
          </ac:spMkLst>
        </pc:spChg>
        <pc:spChg chg="add mod">
          <ac:chgData name="Yiqun Dai" userId="360a2182-b97f-4635-b990-04f846616e33" providerId="ADAL" clId="{8F04EA49-0EFC-48F3-A4D8-E0F0D3B461A8}" dt="2025-11-08T11:37:39.510" v="249664"/>
          <ac:spMkLst>
            <pc:docMk/>
            <pc:sldMk cId="317869439" sldId="2147481931"/>
            <ac:spMk id="61" creationId="{8A11D334-71EC-5BA0-E4B0-6C4C715875FF}"/>
          </ac:spMkLst>
        </pc:spChg>
        <pc:spChg chg="add mod ord">
          <ac:chgData name="Yiqun Dai" userId="360a2182-b97f-4635-b990-04f846616e33" providerId="ADAL" clId="{8F04EA49-0EFC-48F3-A4D8-E0F0D3B461A8}" dt="2025-11-08T11:37:39.479" v="249603"/>
          <ac:spMkLst>
            <pc:docMk/>
            <pc:sldMk cId="317869439" sldId="2147481931"/>
            <ac:spMk id="62" creationId="{55C3843E-B667-4CB0-0BAD-4C660B2C1DF0}"/>
          </ac:spMkLst>
        </pc:spChg>
        <pc:spChg chg="add mod ord">
          <ac:chgData name="Yiqun Dai" userId="360a2182-b97f-4635-b990-04f846616e33" providerId="ADAL" clId="{8F04EA49-0EFC-48F3-A4D8-E0F0D3B461A8}" dt="2025-11-08T11:37:39.479" v="249612"/>
          <ac:spMkLst>
            <pc:docMk/>
            <pc:sldMk cId="317869439" sldId="2147481931"/>
            <ac:spMk id="133" creationId="{AE6845E2-EDBC-8D2A-F46F-A65037936D6D}"/>
          </ac:spMkLst>
        </pc:spChg>
        <pc:spChg chg="add mod ord">
          <ac:chgData name="Yiqun Dai" userId="360a2182-b97f-4635-b990-04f846616e33" providerId="ADAL" clId="{8F04EA49-0EFC-48F3-A4D8-E0F0D3B461A8}" dt="2025-11-08T11:37:39.479" v="249613"/>
          <ac:spMkLst>
            <pc:docMk/>
            <pc:sldMk cId="317869439" sldId="2147481931"/>
            <ac:spMk id="134" creationId="{C8FA23E7-1954-535F-167C-B22C70800949}"/>
          </ac:spMkLst>
        </pc:spChg>
        <pc:spChg chg="add mod">
          <ac:chgData name="Yiqun Dai" userId="360a2182-b97f-4635-b990-04f846616e33" providerId="ADAL" clId="{8F04EA49-0EFC-48F3-A4D8-E0F0D3B461A8}" dt="2025-11-08T11:37:39.479" v="249614"/>
          <ac:spMkLst>
            <pc:docMk/>
            <pc:sldMk cId="317869439" sldId="2147481931"/>
            <ac:spMk id="135" creationId="{771EEA91-D085-6321-84F5-87A71F520D98}"/>
          </ac:spMkLst>
        </pc:spChg>
        <pc:spChg chg="mod">
          <ac:chgData name="Yiqun Dai" userId="360a2182-b97f-4635-b990-04f846616e33" providerId="ADAL" clId="{8F04EA49-0EFC-48F3-A4D8-E0F0D3B461A8}" dt="2025-11-08T11:37:39.479" v="249615"/>
          <ac:spMkLst>
            <pc:docMk/>
            <pc:sldMk cId="317869439" sldId="2147481931"/>
            <ac:spMk id="136" creationId="{25E348C1-2A17-012D-4E60-303EE0E6BB7F}"/>
          </ac:spMkLst>
        </pc:spChg>
        <pc:spChg chg="mod ord">
          <ac:chgData name="Yiqun Dai" userId="360a2182-b97f-4635-b990-04f846616e33" providerId="ADAL" clId="{8F04EA49-0EFC-48F3-A4D8-E0F0D3B461A8}" dt="2025-11-08T11:37:39.479" v="249616"/>
          <ac:spMkLst>
            <pc:docMk/>
            <pc:sldMk cId="317869439" sldId="2147481931"/>
            <ac:spMk id="137" creationId="{EA1C72A7-76CB-A34B-4CA0-D444C92149E8}"/>
          </ac:spMkLst>
        </pc:spChg>
        <pc:spChg chg="add mod">
          <ac:chgData name="Yiqun Dai" userId="360a2182-b97f-4635-b990-04f846616e33" providerId="ADAL" clId="{8F04EA49-0EFC-48F3-A4D8-E0F0D3B461A8}" dt="2025-11-08T11:37:39.495" v="249617"/>
          <ac:spMkLst>
            <pc:docMk/>
            <pc:sldMk cId="317869439" sldId="2147481931"/>
            <ac:spMk id="138" creationId="{C8927A0A-99E8-29F6-F9E2-8BE439DE1155}"/>
          </ac:spMkLst>
        </pc:spChg>
        <pc:spChg chg="mod ord">
          <ac:chgData name="Yiqun Dai" userId="360a2182-b97f-4635-b990-04f846616e33" providerId="ADAL" clId="{8F04EA49-0EFC-48F3-A4D8-E0F0D3B461A8}" dt="2025-11-08T11:37:39.495" v="249618"/>
          <ac:spMkLst>
            <pc:docMk/>
            <pc:sldMk cId="317869439" sldId="2147481931"/>
            <ac:spMk id="139" creationId="{88BFF69C-67DE-55EE-77EF-C44A279EA198}"/>
          </ac:spMkLst>
        </pc:spChg>
        <pc:spChg chg="mod">
          <ac:chgData name="Yiqun Dai" userId="360a2182-b97f-4635-b990-04f846616e33" providerId="ADAL" clId="{8F04EA49-0EFC-48F3-A4D8-E0F0D3B461A8}" dt="2025-11-08T11:37:39.495" v="249619"/>
          <ac:spMkLst>
            <pc:docMk/>
            <pc:sldMk cId="317869439" sldId="2147481931"/>
            <ac:spMk id="140" creationId="{1CDCE2EF-567A-3C91-39D3-A63357A6FAD5}"/>
          </ac:spMkLst>
        </pc:spChg>
        <pc:spChg chg="add mod">
          <ac:chgData name="Yiqun Dai" userId="360a2182-b97f-4635-b990-04f846616e33" providerId="ADAL" clId="{8F04EA49-0EFC-48F3-A4D8-E0F0D3B461A8}" dt="2025-11-08T11:37:39.495" v="249620"/>
          <ac:spMkLst>
            <pc:docMk/>
            <pc:sldMk cId="317869439" sldId="2147481931"/>
            <ac:spMk id="141" creationId="{CDE592CC-8D65-22C9-3EB4-20D94764C7D4}"/>
          </ac:spMkLst>
        </pc:spChg>
        <pc:spChg chg="add mod">
          <ac:chgData name="Yiqun Dai" userId="360a2182-b97f-4635-b990-04f846616e33" providerId="ADAL" clId="{8F04EA49-0EFC-48F3-A4D8-E0F0D3B461A8}" dt="2025-11-08T11:37:39.495" v="249621"/>
          <ac:spMkLst>
            <pc:docMk/>
            <pc:sldMk cId="317869439" sldId="2147481931"/>
            <ac:spMk id="142" creationId="{F9047896-EDBB-AA6E-56FB-79808C1CFAAD}"/>
          </ac:spMkLst>
        </pc:spChg>
        <pc:spChg chg="mod">
          <ac:chgData name="Yiqun Dai" userId="360a2182-b97f-4635-b990-04f846616e33" providerId="ADAL" clId="{8F04EA49-0EFC-48F3-A4D8-E0F0D3B461A8}" dt="2025-11-08T11:37:39.495" v="249622"/>
          <ac:spMkLst>
            <pc:docMk/>
            <pc:sldMk cId="317869439" sldId="2147481931"/>
            <ac:spMk id="143" creationId="{89DB4891-2500-E430-AD73-AC415FFBC83F}"/>
          </ac:spMkLst>
        </pc:spChg>
        <pc:spChg chg="mod">
          <ac:chgData name="Yiqun Dai" userId="360a2182-b97f-4635-b990-04f846616e33" providerId="ADAL" clId="{8F04EA49-0EFC-48F3-A4D8-E0F0D3B461A8}" dt="2025-11-08T11:37:39.495" v="249623"/>
          <ac:spMkLst>
            <pc:docMk/>
            <pc:sldMk cId="317869439" sldId="2147481931"/>
            <ac:spMk id="144" creationId="{3127D0B9-C711-7C74-2BC3-FAFF8C3014C8}"/>
          </ac:spMkLst>
        </pc:spChg>
        <pc:spChg chg="add mod">
          <ac:chgData name="Yiqun Dai" userId="360a2182-b97f-4635-b990-04f846616e33" providerId="ADAL" clId="{8F04EA49-0EFC-48F3-A4D8-E0F0D3B461A8}" dt="2025-11-08T11:37:39.495" v="249624"/>
          <ac:spMkLst>
            <pc:docMk/>
            <pc:sldMk cId="317869439" sldId="2147481931"/>
            <ac:spMk id="145" creationId="{BD08D012-DA9B-4087-D308-23F58F7EAD87}"/>
          </ac:spMkLst>
        </pc:spChg>
        <pc:spChg chg="mod">
          <ac:chgData name="Yiqun Dai" userId="360a2182-b97f-4635-b990-04f846616e33" providerId="ADAL" clId="{8F04EA49-0EFC-48F3-A4D8-E0F0D3B461A8}" dt="2025-11-08T11:37:39.495" v="249625"/>
          <ac:spMkLst>
            <pc:docMk/>
            <pc:sldMk cId="317869439" sldId="2147481931"/>
            <ac:spMk id="146" creationId="{C229F3EC-FAD2-78F0-E710-E98B2D7CC01B}"/>
          </ac:spMkLst>
        </pc:spChg>
        <pc:spChg chg="mod ord">
          <ac:chgData name="Yiqun Dai" userId="360a2182-b97f-4635-b990-04f846616e33" providerId="ADAL" clId="{8F04EA49-0EFC-48F3-A4D8-E0F0D3B461A8}" dt="2025-11-08T11:37:39.503" v="249627"/>
          <ac:spMkLst>
            <pc:docMk/>
            <pc:sldMk cId="317869439" sldId="2147481931"/>
            <ac:spMk id="147" creationId="{E42A8CD2-EC16-3A24-2012-0961E847DB71}"/>
          </ac:spMkLst>
        </pc:spChg>
        <pc:spChg chg="add mod ord">
          <ac:chgData name="Yiqun Dai" userId="360a2182-b97f-4635-b990-04f846616e33" providerId="ADAL" clId="{8F04EA49-0EFC-48F3-A4D8-E0F0D3B461A8}" dt="2025-11-08T11:37:39.503" v="249629"/>
          <ac:spMkLst>
            <pc:docMk/>
            <pc:sldMk cId="317869439" sldId="2147481931"/>
            <ac:spMk id="148" creationId="{197BEDFD-06CE-2217-A7B3-13B157E0E5A0}"/>
          </ac:spMkLst>
        </pc:spChg>
        <pc:spChg chg="mod ord">
          <ac:chgData name="Yiqun Dai" userId="360a2182-b97f-4635-b990-04f846616e33" providerId="ADAL" clId="{8F04EA49-0EFC-48F3-A4D8-E0F0D3B461A8}" dt="2025-11-08T11:37:39.503" v="249631"/>
          <ac:spMkLst>
            <pc:docMk/>
            <pc:sldMk cId="317869439" sldId="2147481931"/>
            <ac:spMk id="149" creationId="{D01B7963-E67D-A423-8FF7-16E42B4B86E2}"/>
          </ac:spMkLst>
        </pc:spChg>
        <pc:spChg chg="mod ord">
          <ac:chgData name="Yiqun Dai" userId="360a2182-b97f-4635-b990-04f846616e33" providerId="ADAL" clId="{8F04EA49-0EFC-48F3-A4D8-E0F0D3B461A8}" dt="2025-11-08T11:37:39.503" v="249633"/>
          <ac:spMkLst>
            <pc:docMk/>
            <pc:sldMk cId="317869439" sldId="2147481931"/>
            <ac:spMk id="150" creationId="{9601CE43-9B9F-6999-011E-8591BC57F396}"/>
          </ac:spMkLst>
        </pc:spChg>
        <pc:spChg chg="mod ord">
          <ac:chgData name="Yiqun Dai" userId="360a2182-b97f-4635-b990-04f846616e33" providerId="ADAL" clId="{8F04EA49-0EFC-48F3-A4D8-E0F0D3B461A8}" dt="2025-11-08T11:37:39.503" v="249635"/>
          <ac:spMkLst>
            <pc:docMk/>
            <pc:sldMk cId="317869439" sldId="2147481931"/>
            <ac:spMk id="151" creationId="{23A3B88A-F154-5D22-247F-0F950D7C12C7}"/>
          </ac:spMkLst>
        </pc:spChg>
        <pc:spChg chg="add mod ord">
          <ac:chgData name="Yiqun Dai" userId="360a2182-b97f-4635-b990-04f846616e33" providerId="ADAL" clId="{8F04EA49-0EFC-48F3-A4D8-E0F0D3B461A8}" dt="2025-11-08T11:37:39.503" v="249637"/>
          <ac:spMkLst>
            <pc:docMk/>
            <pc:sldMk cId="317869439" sldId="2147481931"/>
            <ac:spMk id="152" creationId="{5E5CCC8B-E673-2657-F769-A9408472F896}"/>
          </ac:spMkLst>
        </pc:spChg>
        <pc:spChg chg="mod">
          <ac:chgData name="Yiqun Dai" userId="360a2182-b97f-4635-b990-04f846616e33" providerId="ADAL" clId="{8F04EA49-0EFC-48F3-A4D8-E0F0D3B461A8}" dt="2025-11-08T11:37:39.503" v="249638"/>
          <ac:spMkLst>
            <pc:docMk/>
            <pc:sldMk cId="317869439" sldId="2147481931"/>
            <ac:spMk id="153" creationId="{DE5B07B7-E510-9377-DF49-9E965BF92BB5}"/>
          </ac:spMkLst>
        </pc:spChg>
        <pc:spChg chg="mod">
          <ac:chgData name="Yiqun Dai" userId="360a2182-b97f-4635-b990-04f846616e33" providerId="ADAL" clId="{8F04EA49-0EFC-48F3-A4D8-E0F0D3B461A8}" dt="2025-11-08T11:37:39.503" v="249639"/>
          <ac:spMkLst>
            <pc:docMk/>
            <pc:sldMk cId="317869439" sldId="2147481931"/>
            <ac:spMk id="154" creationId="{C0A39C8B-D806-47B0-3C39-34F79B4AD03B}"/>
          </ac:spMkLst>
        </pc:spChg>
        <pc:spChg chg="mod">
          <ac:chgData name="Yiqun Dai" userId="360a2182-b97f-4635-b990-04f846616e33" providerId="ADAL" clId="{8F04EA49-0EFC-48F3-A4D8-E0F0D3B461A8}" dt="2025-11-08T11:37:39.510" v="249640"/>
          <ac:spMkLst>
            <pc:docMk/>
            <pc:sldMk cId="317869439" sldId="2147481931"/>
            <ac:spMk id="155" creationId="{BB07258B-35C6-C6D0-E0B0-F3D41C98BBC5}"/>
          </ac:spMkLst>
        </pc:spChg>
        <pc:spChg chg="mod">
          <ac:chgData name="Yiqun Dai" userId="360a2182-b97f-4635-b990-04f846616e33" providerId="ADAL" clId="{8F04EA49-0EFC-48F3-A4D8-E0F0D3B461A8}" dt="2025-11-08T11:37:39.510" v="249641"/>
          <ac:spMkLst>
            <pc:docMk/>
            <pc:sldMk cId="317869439" sldId="2147481931"/>
            <ac:spMk id="156" creationId="{035B6720-AB37-565D-1AF1-BF601F11F891}"/>
          </ac:spMkLst>
        </pc:spChg>
        <pc:spChg chg="add mod">
          <ac:chgData name="Yiqun Dai" userId="360a2182-b97f-4635-b990-04f846616e33" providerId="ADAL" clId="{8F04EA49-0EFC-48F3-A4D8-E0F0D3B461A8}" dt="2025-11-08T11:37:39.510" v="249642"/>
          <ac:spMkLst>
            <pc:docMk/>
            <pc:sldMk cId="317869439" sldId="2147481931"/>
            <ac:spMk id="157" creationId="{E8A397CB-F924-C9DD-1E4C-C86476911E84}"/>
          </ac:spMkLst>
        </pc:spChg>
        <pc:spChg chg="add mod ord">
          <ac:chgData name="Yiqun Dai" userId="360a2182-b97f-4635-b990-04f846616e33" providerId="ADAL" clId="{8F04EA49-0EFC-48F3-A4D8-E0F0D3B461A8}" dt="2025-11-08T11:37:39.510" v="249648"/>
          <ac:spMkLst>
            <pc:docMk/>
            <pc:sldMk cId="317869439" sldId="2147481931"/>
            <ac:spMk id="171" creationId="{DD391F86-DA93-AABD-672C-E4C2B02A9D78}"/>
          </ac:spMkLst>
        </pc:spChg>
        <pc:spChg chg="add mod ord">
          <ac:chgData name="Yiqun Dai" userId="360a2182-b97f-4635-b990-04f846616e33" providerId="ADAL" clId="{8F04EA49-0EFC-48F3-A4D8-E0F0D3B461A8}" dt="2025-11-08T11:37:39.510" v="249650"/>
          <ac:spMkLst>
            <pc:docMk/>
            <pc:sldMk cId="317869439" sldId="2147481931"/>
            <ac:spMk id="172" creationId="{532D764F-858C-BA72-A9BC-8552B0331330}"/>
          </ac:spMkLst>
        </pc:spChg>
        <pc:spChg chg="add mod ord">
          <ac:chgData name="Yiqun Dai" userId="360a2182-b97f-4635-b990-04f846616e33" providerId="ADAL" clId="{8F04EA49-0EFC-48F3-A4D8-E0F0D3B461A8}" dt="2025-11-08T11:37:39.510" v="249656"/>
          <ac:spMkLst>
            <pc:docMk/>
            <pc:sldMk cId="317869439" sldId="2147481931"/>
            <ac:spMk id="238" creationId="{0DC74E1D-B0AB-2B92-392F-342520BC3CDA}"/>
          </ac:spMkLst>
        </pc:spChg>
        <pc:graphicFrameChg chg="add mod ord modVis">
          <ac:chgData name="Yiqun Dai" userId="360a2182-b97f-4635-b990-04f846616e33" providerId="ADAL" clId="{8F04EA49-0EFC-48F3-A4D8-E0F0D3B461A8}" dt="2025-11-08T11:37:39.526" v="249674"/>
          <ac:graphicFrameMkLst>
            <pc:docMk/>
            <pc:sldMk cId="317869439" sldId="2147481931"/>
            <ac:graphicFrameMk id="16" creationId="{65B5CA95-ECCE-EB50-DD56-79CAD703FDB6}"/>
          </ac:graphicFrameMkLst>
        </pc:graphicFrameChg>
        <pc:graphicFrameChg chg="add mod ord">
          <ac:chgData name="Yiqun Dai" userId="360a2182-b97f-4635-b990-04f846616e33" providerId="ADAL" clId="{8F04EA49-0EFC-48F3-A4D8-E0F0D3B461A8}" dt="2025-11-08T11:37:39.479" v="249605"/>
          <ac:graphicFrameMkLst>
            <pc:docMk/>
            <pc:sldMk cId="317869439" sldId="2147481931"/>
            <ac:graphicFrameMk id="52" creationId="{5C8E763C-1DF5-FCF4-4B32-F80125C61BE3}"/>
          </ac:graphicFrameMkLst>
        </pc:graphicFrameChg>
        <pc:graphicFrameChg chg="add mod ord">
          <ac:chgData name="Yiqun Dai" userId="360a2182-b97f-4635-b990-04f846616e33" providerId="ADAL" clId="{8F04EA49-0EFC-48F3-A4D8-E0F0D3B461A8}" dt="2025-11-08T11:37:39.447" v="249560"/>
          <ac:graphicFrameMkLst>
            <pc:docMk/>
            <pc:sldMk cId="317869439" sldId="2147481931"/>
            <ac:graphicFrameMk id="161" creationId="{A1F5031A-EB6E-73B3-C69E-617E2413D77E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1-08T11:37:49.995" v="249676"/>
          <ac:graphicFrameMkLst>
            <pc:docMk/>
            <pc:sldMk cId="317869439" sldId="2147481931"/>
            <ac:graphicFrameMk id="168" creationId="{41341B5E-7290-A5BC-D177-CFB53DDB78CA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1-08T11:37:39.510" v="249646"/>
          <ac:graphicFrameMkLst>
            <pc:docMk/>
            <pc:sldMk cId="317869439" sldId="2147481931"/>
            <ac:graphicFrameMk id="170" creationId="{AB2724A2-0DAF-4C97-F933-61D4107DE3C1}"/>
          </ac:graphicFrameMkLst>
        </pc:graphicFrameChg>
        <pc:cxnChg chg="add mod ord">
          <ac:chgData name="Yiqun Dai" userId="360a2182-b97f-4635-b990-04f846616e33" providerId="ADAL" clId="{8F04EA49-0EFC-48F3-A4D8-E0F0D3B461A8}" dt="2025-11-08T11:37:39.464" v="249572"/>
          <ac:cxnSpMkLst>
            <pc:docMk/>
            <pc:sldMk cId="317869439" sldId="2147481931"/>
            <ac:cxnSpMk id="35" creationId="{C4A47111-37E3-6353-7D5A-DE648D2F826E}"/>
          </ac:cxnSpMkLst>
        </pc:cxnChg>
        <pc:cxnChg chg="add mod ord">
          <ac:chgData name="Yiqun Dai" userId="360a2182-b97f-4635-b990-04f846616e33" providerId="ADAL" clId="{8F04EA49-0EFC-48F3-A4D8-E0F0D3B461A8}" dt="2025-11-08T11:37:39.464" v="249570"/>
          <ac:cxnSpMkLst>
            <pc:docMk/>
            <pc:sldMk cId="317869439" sldId="2147481931"/>
            <ac:cxnSpMk id="36" creationId="{1B122B5D-47CF-69CB-80F8-B316CD38B193}"/>
          </ac:cxnSpMkLst>
        </pc:cxnChg>
        <pc:cxnChg chg="add mod ord">
          <ac:chgData name="Yiqun Dai" userId="360a2182-b97f-4635-b990-04f846616e33" providerId="ADAL" clId="{8F04EA49-0EFC-48F3-A4D8-E0F0D3B461A8}" dt="2025-11-08T11:37:39.464" v="249568"/>
          <ac:cxnSpMkLst>
            <pc:docMk/>
            <pc:sldMk cId="317869439" sldId="2147481931"/>
            <ac:cxnSpMk id="37" creationId="{743D03B1-5AC9-0E8D-5737-877D4598E3DC}"/>
          </ac:cxnSpMkLst>
        </pc:cxnChg>
        <pc:cxnChg chg="add mod ord">
          <ac:chgData name="Yiqun Dai" userId="360a2182-b97f-4635-b990-04f846616e33" providerId="ADAL" clId="{8F04EA49-0EFC-48F3-A4D8-E0F0D3B461A8}" dt="2025-11-08T11:37:39.464" v="249576"/>
          <ac:cxnSpMkLst>
            <pc:docMk/>
            <pc:sldMk cId="317869439" sldId="2147481931"/>
            <ac:cxnSpMk id="38" creationId="{2A3B443B-D82A-90C4-3B8B-781298476BAF}"/>
          </ac:cxnSpMkLst>
        </pc:cxnChg>
        <pc:cxnChg chg="add mod ord">
          <ac:chgData name="Yiqun Dai" userId="360a2182-b97f-4635-b990-04f846616e33" providerId="ADAL" clId="{8F04EA49-0EFC-48F3-A4D8-E0F0D3B461A8}" dt="2025-11-08T11:37:39.464" v="249574"/>
          <ac:cxnSpMkLst>
            <pc:docMk/>
            <pc:sldMk cId="317869439" sldId="2147481931"/>
            <ac:cxnSpMk id="39" creationId="{9B60F73E-5671-E2CD-3DC5-870648574E0C}"/>
          </ac:cxnSpMkLst>
        </pc:cxnChg>
        <pc:cxnChg chg="add mod ord">
          <ac:chgData name="Yiqun Dai" userId="360a2182-b97f-4635-b990-04f846616e33" providerId="ADAL" clId="{8F04EA49-0EFC-48F3-A4D8-E0F0D3B461A8}" dt="2025-11-08T11:37:39.447" v="249562"/>
          <ac:cxnSpMkLst>
            <pc:docMk/>
            <pc:sldMk cId="317869439" sldId="2147481931"/>
            <ac:cxnSpMk id="128" creationId="{1B5EAE37-2991-E288-66B2-751F51554891}"/>
          </ac:cxnSpMkLst>
        </pc:cxnChg>
        <pc:cxnChg chg="add mod ord">
          <ac:chgData name="Yiqun Dai" userId="360a2182-b97f-4635-b990-04f846616e33" providerId="ADAL" clId="{8F04EA49-0EFC-48F3-A4D8-E0F0D3B461A8}" dt="2025-11-08T11:37:39.447" v="249564"/>
          <ac:cxnSpMkLst>
            <pc:docMk/>
            <pc:sldMk cId="317869439" sldId="2147481931"/>
            <ac:cxnSpMk id="129" creationId="{4840EEC2-27E6-7D90-3DCC-7F49E8B28189}"/>
          </ac:cxnSpMkLst>
        </pc:cxnChg>
        <pc:cxnChg chg="mod ord">
          <ac:chgData name="Yiqun Dai" userId="360a2182-b97f-4635-b990-04f846616e33" providerId="ADAL" clId="{8F04EA49-0EFC-48F3-A4D8-E0F0D3B461A8}" dt="2025-11-08T11:37:39.479" v="249607"/>
          <ac:cxnSpMkLst>
            <pc:docMk/>
            <pc:sldMk cId="317869439" sldId="2147481931"/>
            <ac:cxnSpMk id="130" creationId="{6BD47B67-A5D7-0163-BD79-5C6B9C3215AA}"/>
          </ac:cxnSpMkLst>
        </pc:cxnChg>
        <pc:cxnChg chg="mod ord">
          <ac:chgData name="Yiqun Dai" userId="360a2182-b97f-4635-b990-04f846616e33" providerId="ADAL" clId="{8F04EA49-0EFC-48F3-A4D8-E0F0D3B461A8}" dt="2025-11-08T11:37:39.479" v="249609"/>
          <ac:cxnSpMkLst>
            <pc:docMk/>
            <pc:sldMk cId="317869439" sldId="2147481931"/>
            <ac:cxnSpMk id="131" creationId="{C635AE8F-0039-D7EA-E856-75F94FA5F11E}"/>
          </ac:cxnSpMkLst>
        </pc:cxnChg>
        <pc:cxnChg chg="mod ord">
          <ac:chgData name="Yiqun Dai" userId="360a2182-b97f-4635-b990-04f846616e33" providerId="ADAL" clId="{8F04EA49-0EFC-48F3-A4D8-E0F0D3B461A8}" dt="2025-11-08T11:37:39.479" v="249611"/>
          <ac:cxnSpMkLst>
            <pc:docMk/>
            <pc:sldMk cId="317869439" sldId="2147481931"/>
            <ac:cxnSpMk id="132" creationId="{A643D541-8243-C309-788C-EA99A1F01D93}"/>
          </ac:cxnSpMkLst>
        </pc:cxnChg>
        <pc:cxnChg chg="add mod ord">
          <ac:chgData name="Yiqun Dai" userId="360a2182-b97f-4635-b990-04f846616e33" providerId="ADAL" clId="{8F04EA49-0EFC-48F3-A4D8-E0F0D3B461A8}" dt="2025-11-08T11:37:39.447" v="249566"/>
          <ac:cxnSpMkLst>
            <pc:docMk/>
            <pc:sldMk cId="317869439" sldId="2147481931"/>
            <ac:cxnSpMk id="158" creationId="{D4F8FE18-0750-3353-068A-388205AC1C92}"/>
          </ac:cxnSpMkLst>
        </pc:cxnChg>
        <pc:cxnChg chg="add mod ord">
          <ac:chgData name="Yiqun Dai" userId="360a2182-b97f-4635-b990-04f846616e33" providerId="ADAL" clId="{8F04EA49-0EFC-48F3-A4D8-E0F0D3B461A8}" dt="2025-11-08T11:37:39.510" v="249652"/>
          <ac:cxnSpMkLst>
            <pc:docMk/>
            <pc:sldMk cId="317869439" sldId="2147481931"/>
            <ac:cxnSpMk id="176" creationId="{65F6B28F-6BAE-58F0-D8DA-2044FA7934A0}"/>
          </ac:cxnSpMkLst>
        </pc:cxnChg>
        <pc:cxnChg chg="add mod ord">
          <ac:chgData name="Yiqun Dai" userId="360a2182-b97f-4635-b990-04f846616e33" providerId="ADAL" clId="{8F04EA49-0EFC-48F3-A4D8-E0F0D3B461A8}" dt="2025-11-08T11:37:39.510" v="249654"/>
          <ac:cxnSpMkLst>
            <pc:docMk/>
            <pc:sldMk cId="317869439" sldId="2147481931"/>
            <ac:cxnSpMk id="178" creationId="{CD65E4C7-3010-9375-2004-B79B428E8C51}"/>
          </ac:cxnSpMkLst>
        </pc:cxnChg>
      </pc:sldChg>
      <pc:sldChg chg="addSp delSp modSp add del mod ord">
        <pc:chgData name="Yiqun Dai" userId="360a2182-b97f-4635-b990-04f846616e33" providerId="ADAL" clId="{8F04EA49-0EFC-48F3-A4D8-E0F0D3B461A8}" dt="2025-11-10T02:46:26.477" v="282994" actId="47"/>
        <pc:sldMkLst>
          <pc:docMk/>
          <pc:sldMk cId="2692683206" sldId="2147481932"/>
        </pc:sldMkLst>
        <pc:spChg chg="mod">
          <ac:chgData name="Yiqun Dai" userId="360a2182-b97f-4635-b990-04f846616e33" providerId="ADAL" clId="{8F04EA49-0EFC-48F3-A4D8-E0F0D3B461A8}" dt="2025-10-11T01:49:34.871" v="85377"/>
          <ac:spMkLst>
            <pc:docMk/>
            <pc:sldMk cId="2692683206" sldId="2147481932"/>
            <ac:spMk id="6" creationId="{1E5D5D29-396E-6356-09A6-7C14D9D86E8A}"/>
          </ac:spMkLst>
        </pc:spChg>
        <pc:spChg chg="mod">
          <ac:chgData name="Yiqun Dai" userId="360a2182-b97f-4635-b990-04f846616e33" providerId="ADAL" clId="{8F04EA49-0EFC-48F3-A4D8-E0F0D3B461A8}" dt="2025-10-11T01:49:34.871" v="85378"/>
          <ac:spMkLst>
            <pc:docMk/>
            <pc:sldMk cId="2692683206" sldId="2147481932"/>
            <ac:spMk id="8" creationId="{9FDD8D02-1D00-15FA-D423-A32123E4CDE8}"/>
          </ac:spMkLst>
        </pc:spChg>
        <pc:spChg chg="mod">
          <ac:chgData name="Yiqun Dai" userId="360a2182-b97f-4635-b990-04f846616e33" providerId="ADAL" clId="{8F04EA49-0EFC-48F3-A4D8-E0F0D3B461A8}" dt="2025-10-11T01:49:34.871" v="85379"/>
          <ac:spMkLst>
            <pc:docMk/>
            <pc:sldMk cId="2692683206" sldId="2147481932"/>
            <ac:spMk id="9" creationId="{661734C9-E572-DFE8-890F-918F19A3D242}"/>
          </ac:spMkLst>
        </pc:spChg>
        <pc:spChg chg="add mod ord">
          <ac:chgData name="Yiqun Dai" userId="360a2182-b97f-4635-b990-04f846616e33" providerId="ADAL" clId="{8F04EA49-0EFC-48F3-A4D8-E0F0D3B461A8}" dt="2025-10-11T01:49:34.881" v="85395"/>
          <ac:spMkLst>
            <pc:docMk/>
            <pc:sldMk cId="2692683206" sldId="2147481932"/>
            <ac:spMk id="21" creationId="{70AEFBDA-C3D8-780A-5259-71AC0FC26029}"/>
          </ac:spMkLst>
        </pc:spChg>
        <pc:spChg chg="add mod ord">
          <ac:chgData name="Yiqun Dai" userId="360a2182-b97f-4635-b990-04f846616e33" providerId="ADAL" clId="{8F04EA49-0EFC-48F3-A4D8-E0F0D3B461A8}" dt="2025-10-12T03:41:24.659" v="99463" actId="14861"/>
          <ac:spMkLst>
            <pc:docMk/>
            <pc:sldMk cId="2692683206" sldId="2147481932"/>
            <ac:spMk id="22" creationId="{FBE74710-AEF7-B291-14F6-9A8FD0D918F8}"/>
          </ac:spMkLst>
        </pc:spChg>
        <pc:spChg chg="mod">
          <ac:chgData name="Yiqun Dai" userId="360a2182-b97f-4635-b990-04f846616e33" providerId="ADAL" clId="{8F04EA49-0EFC-48F3-A4D8-E0F0D3B461A8}" dt="2025-10-11T01:49:34.874" v="85380"/>
          <ac:spMkLst>
            <pc:docMk/>
            <pc:sldMk cId="2692683206" sldId="2147481932"/>
            <ac:spMk id="24" creationId="{4CABBFDD-CC62-CD8A-3873-CACB8640FA8C}"/>
          </ac:spMkLst>
        </pc:spChg>
        <pc:spChg chg="mod">
          <ac:chgData name="Yiqun Dai" userId="360a2182-b97f-4635-b990-04f846616e33" providerId="ADAL" clId="{8F04EA49-0EFC-48F3-A4D8-E0F0D3B461A8}" dt="2025-10-11T01:49:34.874" v="85381"/>
          <ac:spMkLst>
            <pc:docMk/>
            <pc:sldMk cId="2692683206" sldId="2147481932"/>
            <ac:spMk id="25" creationId="{6ADD620B-2055-C00B-CC41-64FDBDAC01C5}"/>
          </ac:spMkLst>
        </pc:spChg>
        <pc:spChg chg="add mod">
          <ac:chgData name="Yiqun Dai" userId="360a2182-b97f-4635-b990-04f846616e33" providerId="ADAL" clId="{8F04EA49-0EFC-48F3-A4D8-E0F0D3B461A8}" dt="2025-10-11T01:49:34.886" v="85398"/>
          <ac:spMkLst>
            <pc:docMk/>
            <pc:sldMk cId="2692683206" sldId="2147481932"/>
            <ac:spMk id="33" creationId="{70C9A136-40F1-0810-7941-4250EAA3A49B}"/>
          </ac:spMkLst>
        </pc:spChg>
        <pc:spChg chg="add mod">
          <ac:chgData name="Yiqun Dai" userId="360a2182-b97f-4635-b990-04f846616e33" providerId="ADAL" clId="{8F04EA49-0EFC-48F3-A4D8-E0F0D3B461A8}" dt="2025-10-11T01:49:34.886" v="85399"/>
          <ac:spMkLst>
            <pc:docMk/>
            <pc:sldMk cId="2692683206" sldId="2147481932"/>
            <ac:spMk id="34" creationId="{F9B50E05-8F8A-7DB1-66F0-01F8E33A845E}"/>
          </ac:spMkLst>
        </pc:spChg>
        <pc:spChg chg="add mod ord">
          <ac:chgData name="Yiqun Dai" userId="360a2182-b97f-4635-b990-04f846616e33" providerId="ADAL" clId="{8F04EA49-0EFC-48F3-A4D8-E0F0D3B461A8}" dt="2025-10-11T01:49:34.888" v="85401"/>
          <ac:spMkLst>
            <pc:docMk/>
            <pc:sldMk cId="2692683206" sldId="2147481932"/>
            <ac:spMk id="35" creationId="{C8684864-1FDA-34CB-FCFC-11B004CC614D}"/>
          </ac:spMkLst>
        </pc:spChg>
        <pc:spChg chg="add mod">
          <ac:chgData name="Yiqun Dai" userId="360a2182-b97f-4635-b990-04f846616e33" providerId="ADAL" clId="{8F04EA49-0EFC-48F3-A4D8-E0F0D3B461A8}" dt="2025-10-11T01:49:34.888" v="85402"/>
          <ac:spMkLst>
            <pc:docMk/>
            <pc:sldMk cId="2692683206" sldId="2147481932"/>
            <ac:spMk id="36" creationId="{49FF13CE-05CD-66A2-EA47-B81422AF04A8}"/>
          </ac:spMkLst>
        </pc:spChg>
        <pc:spChg chg="add mod">
          <ac:chgData name="Yiqun Dai" userId="360a2182-b97f-4635-b990-04f846616e33" providerId="ADAL" clId="{8F04EA49-0EFC-48F3-A4D8-E0F0D3B461A8}" dt="2025-10-11T01:49:34.890" v="85403"/>
          <ac:spMkLst>
            <pc:docMk/>
            <pc:sldMk cId="2692683206" sldId="2147481932"/>
            <ac:spMk id="37" creationId="{B26FB86E-B2A4-9D28-116E-91EBC3FCE821}"/>
          </ac:spMkLst>
        </pc:spChg>
        <pc:spChg chg="add mod">
          <ac:chgData name="Yiqun Dai" userId="360a2182-b97f-4635-b990-04f846616e33" providerId="ADAL" clId="{8F04EA49-0EFC-48F3-A4D8-E0F0D3B461A8}" dt="2025-10-11T01:49:34.891" v="85404"/>
          <ac:spMkLst>
            <pc:docMk/>
            <pc:sldMk cId="2692683206" sldId="2147481932"/>
            <ac:spMk id="38" creationId="{E6C8994A-1897-4B65-87E1-94332F2614D7}"/>
          </ac:spMkLst>
        </pc:spChg>
        <pc:spChg chg="add mod ord">
          <ac:chgData name="Yiqun Dai" userId="360a2182-b97f-4635-b990-04f846616e33" providerId="ADAL" clId="{8F04EA49-0EFC-48F3-A4D8-E0F0D3B461A8}" dt="2025-10-11T01:49:34.891" v="85408"/>
          <ac:spMkLst>
            <pc:docMk/>
            <pc:sldMk cId="2692683206" sldId="2147481932"/>
            <ac:spMk id="42" creationId="{9EFA78D0-0E7D-5C99-B099-CEE12F7A47E1}"/>
          </ac:spMkLst>
        </pc:spChg>
        <pc:spChg chg="add mod">
          <ac:chgData name="Yiqun Dai" userId="360a2182-b97f-4635-b990-04f846616e33" providerId="ADAL" clId="{8F04EA49-0EFC-48F3-A4D8-E0F0D3B461A8}" dt="2025-10-11T01:49:34.901" v="85421"/>
          <ac:spMkLst>
            <pc:docMk/>
            <pc:sldMk cId="2692683206" sldId="2147481932"/>
            <ac:spMk id="66" creationId="{8B72AD0A-75B7-AAD3-EADE-B80E2A328E6B}"/>
          </ac:spMkLst>
        </pc:spChg>
        <pc:spChg chg="add mod">
          <ac:chgData name="Yiqun Dai" userId="360a2182-b97f-4635-b990-04f846616e33" providerId="ADAL" clId="{8F04EA49-0EFC-48F3-A4D8-E0F0D3B461A8}" dt="2025-10-11T01:49:34.901" v="85422"/>
          <ac:spMkLst>
            <pc:docMk/>
            <pc:sldMk cId="2692683206" sldId="2147481932"/>
            <ac:spMk id="67" creationId="{FFD3DCF6-FBCD-C26A-9F10-972E68C4BA83}"/>
          </ac:spMkLst>
        </pc:spChg>
        <pc:spChg chg="add mod ord">
          <ac:chgData name="Yiqun Dai" userId="360a2182-b97f-4635-b990-04f846616e33" providerId="ADAL" clId="{8F04EA49-0EFC-48F3-A4D8-E0F0D3B461A8}" dt="2025-10-11T01:49:34.901" v="85424"/>
          <ac:spMkLst>
            <pc:docMk/>
            <pc:sldMk cId="2692683206" sldId="2147481932"/>
            <ac:spMk id="68" creationId="{96B6D25E-70C5-4672-9D20-6BEE5EE59590}"/>
          </ac:spMkLst>
        </pc:spChg>
        <pc:spChg chg="add mod">
          <ac:chgData name="Yiqun Dai" userId="360a2182-b97f-4635-b990-04f846616e33" providerId="ADAL" clId="{8F04EA49-0EFC-48F3-A4D8-E0F0D3B461A8}" dt="2025-10-11T01:49:34.901" v="85425"/>
          <ac:spMkLst>
            <pc:docMk/>
            <pc:sldMk cId="2692683206" sldId="2147481932"/>
            <ac:spMk id="69" creationId="{2FA0AE85-F049-58E7-8BC1-1DB32987C62E}"/>
          </ac:spMkLst>
        </pc:spChg>
        <pc:spChg chg="add mod">
          <ac:chgData name="Yiqun Dai" userId="360a2182-b97f-4635-b990-04f846616e33" providerId="ADAL" clId="{8F04EA49-0EFC-48F3-A4D8-E0F0D3B461A8}" dt="2025-10-11T01:49:34.906" v="85427"/>
          <ac:spMkLst>
            <pc:docMk/>
            <pc:sldMk cId="2692683206" sldId="2147481932"/>
            <ac:spMk id="70" creationId="{A75A0DA5-6584-3182-4DB5-A8A726FF346B}"/>
          </ac:spMkLst>
        </pc:spChg>
        <pc:spChg chg="add mod">
          <ac:chgData name="Yiqun Dai" userId="360a2182-b97f-4635-b990-04f846616e33" providerId="ADAL" clId="{8F04EA49-0EFC-48F3-A4D8-E0F0D3B461A8}" dt="2025-10-11T01:49:34.906" v="85428"/>
          <ac:spMkLst>
            <pc:docMk/>
            <pc:sldMk cId="2692683206" sldId="2147481932"/>
            <ac:spMk id="71" creationId="{C4B13215-78B5-D707-1309-4846742A29F9}"/>
          </ac:spMkLst>
        </pc:spChg>
        <pc:spChg chg="add mod">
          <ac:chgData name="Yiqun Dai" userId="360a2182-b97f-4635-b990-04f846616e33" providerId="ADAL" clId="{8F04EA49-0EFC-48F3-A4D8-E0F0D3B461A8}" dt="2025-10-11T01:49:34.911" v="85439"/>
          <ac:spMkLst>
            <pc:docMk/>
            <pc:sldMk cId="2692683206" sldId="2147481932"/>
            <ac:spMk id="81" creationId="{A536BB0F-F6F1-E22B-3C92-3CD5934F2169}"/>
          </ac:spMkLst>
        </pc:spChg>
        <pc:spChg chg="add mod">
          <ac:chgData name="Yiqun Dai" userId="360a2182-b97f-4635-b990-04f846616e33" providerId="ADAL" clId="{8F04EA49-0EFC-48F3-A4D8-E0F0D3B461A8}" dt="2025-10-11T01:49:34.911" v="85442"/>
          <ac:spMkLst>
            <pc:docMk/>
            <pc:sldMk cId="2692683206" sldId="2147481932"/>
            <ac:spMk id="82" creationId="{75C294F3-D6AC-5299-49E7-BE9D01A8D6C4}"/>
          </ac:spMkLst>
        </pc:spChg>
        <pc:spChg chg="add mod ord">
          <ac:chgData name="Yiqun Dai" userId="360a2182-b97f-4635-b990-04f846616e33" providerId="ADAL" clId="{8F04EA49-0EFC-48F3-A4D8-E0F0D3B461A8}" dt="2025-10-11T01:49:34.911" v="85443"/>
          <ac:spMkLst>
            <pc:docMk/>
            <pc:sldMk cId="2692683206" sldId="2147481932"/>
            <ac:spMk id="83" creationId="{F480B6C1-EBB1-7ED0-BAF0-FE629A1C70F8}"/>
          </ac:spMkLst>
        </pc:spChg>
        <pc:spChg chg="add mod">
          <ac:chgData name="Yiqun Dai" userId="360a2182-b97f-4635-b990-04f846616e33" providerId="ADAL" clId="{8F04EA49-0EFC-48F3-A4D8-E0F0D3B461A8}" dt="2025-10-11T01:49:34.911" v="85444"/>
          <ac:spMkLst>
            <pc:docMk/>
            <pc:sldMk cId="2692683206" sldId="2147481932"/>
            <ac:spMk id="84" creationId="{50668D2B-078B-E791-E60E-71505FDAE1EC}"/>
          </ac:spMkLst>
        </pc:spChg>
        <pc:spChg chg="add mod">
          <ac:chgData name="Yiqun Dai" userId="360a2182-b97f-4635-b990-04f846616e33" providerId="ADAL" clId="{8F04EA49-0EFC-48F3-A4D8-E0F0D3B461A8}" dt="2025-10-11T01:49:34.911" v="85446"/>
          <ac:spMkLst>
            <pc:docMk/>
            <pc:sldMk cId="2692683206" sldId="2147481932"/>
            <ac:spMk id="85" creationId="{24934F34-7773-F039-2640-2C16DE44CBF9}"/>
          </ac:spMkLst>
        </pc:spChg>
        <pc:spChg chg="add mod">
          <ac:chgData name="Yiqun Dai" userId="360a2182-b97f-4635-b990-04f846616e33" providerId="ADAL" clId="{8F04EA49-0EFC-48F3-A4D8-E0F0D3B461A8}" dt="2025-10-11T01:49:34.921" v="85447"/>
          <ac:spMkLst>
            <pc:docMk/>
            <pc:sldMk cId="2692683206" sldId="2147481932"/>
            <ac:spMk id="87" creationId="{E35196B0-9481-E82B-D1ED-F60EED897FE3}"/>
          </ac:spMkLst>
        </pc:spChg>
        <pc:spChg chg="add mod">
          <ac:chgData name="Yiqun Dai" userId="360a2182-b97f-4635-b990-04f846616e33" providerId="ADAL" clId="{8F04EA49-0EFC-48F3-A4D8-E0F0D3B461A8}" dt="2025-10-11T01:49:34.911" v="85445"/>
          <ac:spMkLst>
            <pc:docMk/>
            <pc:sldMk cId="2692683206" sldId="2147481932"/>
            <ac:spMk id="88" creationId="{D975FDA5-7B32-A391-A19D-C8CB0A25A817}"/>
          </ac:spMkLst>
        </pc:spChg>
        <pc:spChg chg="add mod ord">
          <ac:chgData name="Yiqun Dai" userId="360a2182-b97f-4635-b990-04f846616e33" providerId="ADAL" clId="{8F04EA49-0EFC-48F3-A4D8-E0F0D3B461A8}" dt="2025-10-11T01:49:34.921" v="85449"/>
          <ac:spMkLst>
            <pc:docMk/>
            <pc:sldMk cId="2692683206" sldId="2147481932"/>
            <ac:spMk id="91" creationId="{AAB26264-5D29-36D7-A700-E345C052FC14}"/>
          </ac:spMkLst>
        </pc:spChg>
        <pc:spChg chg="add mod ord">
          <ac:chgData name="Yiqun Dai" userId="360a2182-b97f-4635-b990-04f846616e33" providerId="ADAL" clId="{8F04EA49-0EFC-48F3-A4D8-E0F0D3B461A8}" dt="2025-10-11T01:49:34.921" v="85451"/>
          <ac:spMkLst>
            <pc:docMk/>
            <pc:sldMk cId="2692683206" sldId="2147481932"/>
            <ac:spMk id="92" creationId="{D7C2AD69-3F9D-9F37-2339-783D65397DDF}"/>
          </ac:spMkLst>
        </pc:spChg>
        <pc:spChg chg="add mod ord">
          <ac:chgData name="Yiqun Dai" userId="360a2182-b97f-4635-b990-04f846616e33" providerId="ADAL" clId="{8F04EA49-0EFC-48F3-A4D8-E0F0D3B461A8}" dt="2025-10-12T03:41:24.659" v="99463" actId="14861"/>
          <ac:spMkLst>
            <pc:docMk/>
            <pc:sldMk cId="2692683206" sldId="2147481932"/>
            <ac:spMk id="108" creationId="{2B610A96-6FF3-5767-544C-045F110037E9}"/>
          </ac:spMkLst>
        </pc:spChg>
        <pc:spChg chg="add mod ord">
          <ac:chgData name="Yiqun Dai" userId="360a2182-b97f-4635-b990-04f846616e33" providerId="ADAL" clId="{8F04EA49-0EFC-48F3-A4D8-E0F0D3B461A8}" dt="2025-10-11T01:49:34.861" v="85364"/>
          <ac:spMkLst>
            <pc:docMk/>
            <pc:sldMk cId="2692683206" sldId="2147481932"/>
            <ac:spMk id="112" creationId="{E6487927-47EA-B695-96EA-CB7CB6849BBB}"/>
          </ac:spMkLst>
        </pc:spChg>
        <pc:spChg chg="add mod ord">
          <ac:chgData name="Yiqun Dai" userId="360a2182-b97f-4635-b990-04f846616e33" providerId="ADAL" clId="{8F04EA49-0EFC-48F3-A4D8-E0F0D3B461A8}" dt="2025-10-11T01:49:34.861" v="85362"/>
          <ac:spMkLst>
            <pc:docMk/>
            <pc:sldMk cId="2692683206" sldId="2147481932"/>
            <ac:spMk id="113" creationId="{4F51EDAF-B002-9C31-5284-D32A15484065}"/>
          </ac:spMkLst>
        </pc:spChg>
        <pc:spChg chg="add mod ord">
          <ac:chgData name="Yiqun Dai" userId="360a2182-b97f-4635-b990-04f846616e33" providerId="ADAL" clId="{8F04EA49-0EFC-48F3-A4D8-E0F0D3B461A8}" dt="2025-10-11T01:49:34.861" v="85360"/>
          <ac:spMkLst>
            <pc:docMk/>
            <pc:sldMk cId="2692683206" sldId="2147481932"/>
            <ac:spMk id="114" creationId="{B2D5B544-0F37-E8E1-4BC5-3636FD99FF0A}"/>
          </ac:spMkLst>
        </pc:spChg>
        <pc:spChg chg="add mod">
          <ac:chgData name="Yiqun Dai" userId="360a2182-b97f-4635-b990-04f846616e33" providerId="ADAL" clId="{8F04EA49-0EFC-48F3-A4D8-E0F0D3B461A8}" dt="2025-10-11T01:49:34.901" v="85426"/>
          <ac:spMkLst>
            <pc:docMk/>
            <pc:sldMk cId="2692683206" sldId="2147481932"/>
            <ac:spMk id="116" creationId="{EAAEA2C5-B6A3-AFCB-052F-A600DB10E99F}"/>
          </ac:spMkLst>
        </pc:spChg>
        <pc:spChg chg="add mod ord">
          <ac:chgData name="Yiqun Dai" userId="360a2182-b97f-4635-b990-04f846616e33" providerId="ADAL" clId="{8F04EA49-0EFC-48F3-A4D8-E0F0D3B461A8}" dt="2025-10-11T01:49:34.901" v="85420"/>
          <ac:spMkLst>
            <pc:docMk/>
            <pc:sldMk cId="2692683206" sldId="2147481932"/>
            <ac:spMk id="117" creationId="{C651B339-D7B8-0BFF-4FDB-770BEAEDCC39}"/>
          </ac:spMkLst>
        </pc:spChg>
        <pc:spChg chg="add mod ord">
          <ac:chgData name="Yiqun Dai" userId="360a2182-b97f-4635-b990-04f846616e33" providerId="ADAL" clId="{8F04EA49-0EFC-48F3-A4D8-E0F0D3B461A8}" dt="2025-10-11T01:49:34.911" v="85441"/>
          <ac:spMkLst>
            <pc:docMk/>
            <pc:sldMk cId="2692683206" sldId="2147481932"/>
            <ac:spMk id="127" creationId="{70FD1CE8-FDCA-AB98-732B-0D9CAB569F5A}"/>
          </ac:spMkLst>
        </pc:spChg>
        <pc:graphicFrameChg chg="mod">
          <ac:chgData name="Yiqun Dai" userId="360a2182-b97f-4635-b990-04f846616e33" providerId="ADAL" clId="{8F04EA49-0EFC-48F3-A4D8-E0F0D3B461A8}" dt="2025-10-11T01:49:34.932" v="85459"/>
          <ac:graphicFrameMkLst>
            <pc:docMk/>
            <pc:sldMk cId="2692683206" sldId="2147481932"/>
            <ac:graphicFrameMk id="13" creationId="{DA3678F1-834E-B449-D634-970C7AF99DB9}"/>
          </ac:graphicFrameMkLst>
        </pc:graphicFrameChg>
        <pc:graphicFrameChg chg="add mod ord">
          <ac:chgData name="Yiqun Dai" userId="360a2182-b97f-4635-b990-04f846616e33" providerId="ADAL" clId="{8F04EA49-0EFC-48F3-A4D8-E0F0D3B461A8}" dt="2025-10-11T01:49:34.861" v="85376"/>
          <ac:graphicFrameMkLst>
            <pc:docMk/>
            <pc:sldMk cId="2692683206" sldId="2147481932"/>
            <ac:graphicFrameMk id="17" creationId="{DDD5AD65-AF81-A966-64C1-56C7889B5212}"/>
          </ac:graphicFrameMkLst>
        </pc:graphicFrameChg>
        <pc:graphicFrameChg chg="add mod ord">
          <ac:chgData name="Yiqun Dai" userId="360a2182-b97f-4635-b990-04f846616e33" providerId="ADAL" clId="{8F04EA49-0EFC-48F3-A4D8-E0F0D3B461A8}" dt="2025-10-11T01:49:34.891" v="85418"/>
          <ac:graphicFrameMkLst>
            <pc:docMk/>
            <pc:sldMk cId="2692683206" sldId="2147481932"/>
            <ac:graphicFrameMk id="19" creationId="{9739FCB8-A743-4973-AA6C-DBE3500C5BC1}"/>
          </ac:graphicFrameMkLst>
        </pc:graphicFrameChg>
        <pc:graphicFrameChg chg="add mod ord">
          <ac:chgData name="Yiqun Dai" userId="360a2182-b97f-4635-b990-04f846616e33" providerId="ADAL" clId="{8F04EA49-0EFC-48F3-A4D8-E0F0D3B461A8}" dt="2025-10-11T01:49:34.881" v="85397"/>
          <ac:graphicFrameMkLst>
            <pc:docMk/>
            <pc:sldMk cId="2692683206" sldId="2147481932"/>
            <ac:graphicFrameMk id="23" creationId="{E9F8A01F-CC4E-688A-066D-1D42CEA0D4AD}"/>
          </ac:graphicFrameMkLst>
        </pc:graphicFrameChg>
        <pc:graphicFrameChg chg="add mod ord">
          <ac:chgData name="Yiqun Dai" userId="360a2182-b97f-4635-b990-04f846616e33" providerId="ADAL" clId="{8F04EA49-0EFC-48F3-A4D8-E0F0D3B461A8}" dt="2025-10-11T01:49:34.911" v="85438"/>
          <ac:graphicFrameMkLst>
            <pc:docMk/>
            <pc:sldMk cId="2692683206" sldId="2147481932"/>
            <ac:graphicFrameMk id="39" creationId="{53139B41-E5E1-B83F-ECAE-10A458C609A0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1T01:49:34.891" v="85406"/>
          <ac:graphicFrameMkLst>
            <pc:docMk/>
            <pc:sldMk cId="2692683206" sldId="2147481932"/>
            <ac:graphicFrameMk id="41" creationId="{488903C8-AD48-B632-9270-76A3B848826A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1T01:49:34.921" v="85453"/>
          <ac:graphicFrameMkLst>
            <pc:docMk/>
            <pc:sldMk cId="2692683206" sldId="2147481932"/>
            <ac:graphicFrameMk id="93" creationId="{38F994C3-C9EA-2D4A-915E-235D3718A2A9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1T01:49:53.596" v="85462" actId="403"/>
          <ac:graphicFrameMkLst>
            <pc:docMk/>
            <pc:sldMk cId="2692683206" sldId="2147481932"/>
            <ac:graphicFrameMk id="94" creationId="{461D8840-04BD-AA46-D003-54192697E095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0-11T01:49:34.874" v="85383"/>
          <ac:graphicFrameMkLst>
            <pc:docMk/>
            <pc:sldMk cId="2692683206" sldId="2147481932"/>
            <ac:graphicFrameMk id="129" creationId="{3921879A-2403-68A0-BC71-86601B3FF88D}"/>
          </ac:graphicFrameMkLst>
        </pc:graphicFrameChg>
        <pc:cxnChg chg="mod ord">
          <ac:chgData name="Yiqun Dai" userId="360a2182-b97f-4635-b990-04f846616e33" providerId="ADAL" clId="{8F04EA49-0EFC-48F3-A4D8-E0F0D3B461A8}" dt="2025-10-11T01:49:34.861" v="85368"/>
          <ac:cxnSpMkLst>
            <pc:docMk/>
            <pc:sldMk cId="2692683206" sldId="2147481932"/>
            <ac:cxnSpMk id="10" creationId="{B721F5F4-6B3E-1F96-8371-523131FAE771}"/>
          </ac:cxnSpMkLst>
        </pc:cxnChg>
        <pc:cxnChg chg="mod ord">
          <ac:chgData name="Yiqun Dai" userId="360a2182-b97f-4635-b990-04f846616e33" providerId="ADAL" clId="{8F04EA49-0EFC-48F3-A4D8-E0F0D3B461A8}" dt="2025-10-11T01:49:34.861" v="85370"/>
          <ac:cxnSpMkLst>
            <pc:docMk/>
            <pc:sldMk cId="2692683206" sldId="2147481932"/>
            <ac:cxnSpMk id="11" creationId="{615E640E-BE7E-EE88-F67A-B4FE8458349D}"/>
          </ac:cxnSpMkLst>
        </pc:cxnChg>
        <pc:cxnChg chg="mod ord">
          <ac:chgData name="Yiqun Dai" userId="360a2182-b97f-4635-b990-04f846616e33" providerId="ADAL" clId="{8F04EA49-0EFC-48F3-A4D8-E0F0D3B461A8}" dt="2025-10-11T01:49:34.874" v="85387"/>
          <ac:cxnSpMkLst>
            <pc:docMk/>
            <pc:sldMk cId="2692683206" sldId="2147481932"/>
            <ac:cxnSpMk id="26" creationId="{387CF6F8-9C16-522B-536A-2E70337F3996}"/>
          </ac:cxnSpMkLst>
        </pc:cxnChg>
        <pc:cxnChg chg="add mod ord">
          <ac:chgData name="Yiqun Dai" userId="360a2182-b97f-4635-b990-04f846616e33" providerId="ADAL" clId="{8F04EA49-0EFC-48F3-A4D8-E0F0D3B461A8}" dt="2025-10-11T01:49:34.874" v="85389"/>
          <ac:cxnSpMkLst>
            <pc:docMk/>
            <pc:sldMk cId="2692683206" sldId="2147481932"/>
            <ac:cxnSpMk id="27" creationId="{EE5592A1-77FD-2E6D-FC21-8D2B14FBD3E8}"/>
          </ac:cxnSpMkLst>
        </pc:cxnChg>
        <pc:cxnChg chg="add mod ord">
          <ac:chgData name="Yiqun Dai" userId="360a2182-b97f-4635-b990-04f846616e33" providerId="ADAL" clId="{8F04EA49-0EFC-48F3-A4D8-E0F0D3B461A8}" dt="2025-10-11T01:49:34.881" v="85391"/>
          <ac:cxnSpMkLst>
            <pc:docMk/>
            <pc:sldMk cId="2692683206" sldId="2147481932"/>
            <ac:cxnSpMk id="28" creationId="{BC49BD2E-7AF1-89B1-91F4-B11C0CDCB6FA}"/>
          </ac:cxnSpMkLst>
        </pc:cxnChg>
        <pc:cxnChg chg="mod ord">
          <ac:chgData name="Yiqun Dai" userId="360a2182-b97f-4635-b990-04f846616e33" providerId="ADAL" clId="{8F04EA49-0EFC-48F3-A4D8-E0F0D3B461A8}" dt="2025-10-11T01:49:34.861" v="85372"/>
          <ac:cxnSpMkLst>
            <pc:docMk/>
            <pc:sldMk cId="2692683206" sldId="2147481932"/>
            <ac:cxnSpMk id="29" creationId="{118AB4B8-773E-4176-5D6D-0B51C313B70A}"/>
          </ac:cxnSpMkLst>
        </pc:cxnChg>
        <pc:cxnChg chg="mod ord">
          <ac:chgData name="Yiqun Dai" userId="360a2182-b97f-4635-b990-04f846616e33" providerId="ADAL" clId="{8F04EA49-0EFC-48F3-A4D8-E0F0D3B461A8}" dt="2025-10-11T01:49:34.861" v="85374"/>
          <ac:cxnSpMkLst>
            <pc:docMk/>
            <pc:sldMk cId="2692683206" sldId="2147481932"/>
            <ac:cxnSpMk id="30" creationId="{B37578DA-AE3B-8F79-B2B6-1B57006443E5}"/>
          </ac:cxnSpMkLst>
        </pc:cxnChg>
        <pc:cxnChg chg="add mod ord">
          <ac:chgData name="Yiqun Dai" userId="360a2182-b97f-4635-b990-04f846616e33" providerId="ADAL" clId="{8F04EA49-0EFC-48F3-A4D8-E0F0D3B461A8}" dt="2025-10-11T01:49:34.881" v="85393"/>
          <ac:cxnSpMkLst>
            <pc:docMk/>
            <pc:sldMk cId="2692683206" sldId="2147481932"/>
            <ac:cxnSpMk id="31" creationId="{CAF4796F-D426-24DA-CC6D-FBE9CE3E8AC4}"/>
          </ac:cxnSpMkLst>
        </pc:cxnChg>
        <pc:cxnChg chg="mod ord">
          <ac:chgData name="Yiqun Dai" userId="360a2182-b97f-4635-b990-04f846616e33" providerId="ADAL" clId="{8F04EA49-0EFC-48F3-A4D8-E0F0D3B461A8}" dt="2025-10-11T01:49:34.891" v="85410"/>
          <ac:cxnSpMkLst>
            <pc:docMk/>
            <pc:sldMk cId="2692683206" sldId="2147481932"/>
            <ac:cxnSpMk id="61" creationId="{B236781C-ED6D-B83F-919D-FF5E496AF7A7}"/>
          </ac:cxnSpMkLst>
        </pc:cxnChg>
        <pc:cxnChg chg="add mod ord">
          <ac:chgData name="Yiqun Dai" userId="360a2182-b97f-4635-b990-04f846616e33" providerId="ADAL" clId="{8F04EA49-0EFC-48F3-A4D8-E0F0D3B461A8}" dt="2025-10-11T01:49:34.891" v="85412"/>
          <ac:cxnSpMkLst>
            <pc:docMk/>
            <pc:sldMk cId="2692683206" sldId="2147481932"/>
            <ac:cxnSpMk id="62" creationId="{A7B60F95-043F-8F53-AB03-C662FF7B4F56}"/>
          </ac:cxnSpMkLst>
        </pc:cxnChg>
        <pc:cxnChg chg="add mod ord">
          <ac:chgData name="Yiqun Dai" userId="360a2182-b97f-4635-b990-04f846616e33" providerId="ADAL" clId="{8F04EA49-0EFC-48F3-A4D8-E0F0D3B461A8}" dt="2025-10-11T01:49:34.891" v="85414"/>
          <ac:cxnSpMkLst>
            <pc:docMk/>
            <pc:sldMk cId="2692683206" sldId="2147481932"/>
            <ac:cxnSpMk id="63" creationId="{94984A50-DE98-07F9-BF03-002AF78F2D8E}"/>
          </ac:cxnSpMkLst>
        </pc:cxnChg>
        <pc:cxnChg chg="add mod ord">
          <ac:chgData name="Yiqun Dai" userId="360a2182-b97f-4635-b990-04f846616e33" providerId="ADAL" clId="{8F04EA49-0EFC-48F3-A4D8-E0F0D3B461A8}" dt="2025-10-11T01:49:34.891" v="85416"/>
          <ac:cxnSpMkLst>
            <pc:docMk/>
            <pc:sldMk cId="2692683206" sldId="2147481932"/>
            <ac:cxnSpMk id="64" creationId="{E55FF59B-55CA-40AA-4186-364EBADAC6C7}"/>
          </ac:cxnSpMkLst>
        </pc:cxnChg>
        <pc:cxnChg chg="mod ord">
          <ac:chgData name="Yiqun Dai" userId="360a2182-b97f-4635-b990-04f846616e33" providerId="ADAL" clId="{8F04EA49-0EFC-48F3-A4D8-E0F0D3B461A8}" dt="2025-10-11T01:49:34.906" v="85430"/>
          <ac:cxnSpMkLst>
            <pc:docMk/>
            <pc:sldMk cId="2692683206" sldId="2147481932"/>
            <ac:cxnSpMk id="75" creationId="{BE689C71-ADEE-AF2D-03AC-61D53D05A713}"/>
          </ac:cxnSpMkLst>
        </pc:cxnChg>
        <pc:cxnChg chg="add mod ord">
          <ac:chgData name="Yiqun Dai" userId="360a2182-b97f-4635-b990-04f846616e33" providerId="ADAL" clId="{8F04EA49-0EFC-48F3-A4D8-E0F0D3B461A8}" dt="2025-10-11T01:49:34.906" v="85432"/>
          <ac:cxnSpMkLst>
            <pc:docMk/>
            <pc:sldMk cId="2692683206" sldId="2147481932"/>
            <ac:cxnSpMk id="76" creationId="{CD1C166F-1548-11D8-6493-CFD26A8F3499}"/>
          </ac:cxnSpMkLst>
        </pc:cxnChg>
        <pc:cxnChg chg="mod ord">
          <ac:chgData name="Yiqun Dai" userId="360a2182-b97f-4635-b990-04f846616e33" providerId="ADAL" clId="{8F04EA49-0EFC-48F3-A4D8-E0F0D3B461A8}" dt="2025-10-11T01:49:34.911" v="85434"/>
          <ac:cxnSpMkLst>
            <pc:docMk/>
            <pc:sldMk cId="2692683206" sldId="2147481932"/>
            <ac:cxnSpMk id="77" creationId="{31D67C6E-A26A-BEBE-4887-9EA28998EF2C}"/>
          </ac:cxnSpMkLst>
        </pc:cxnChg>
        <pc:cxnChg chg="mod ord">
          <ac:chgData name="Yiqun Dai" userId="360a2182-b97f-4635-b990-04f846616e33" providerId="ADAL" clId="{8F04EA49-0EFC-48F3-A4D8-E0F0D3B461A8}" dt="2025-10-11T01:49:34.911" v="85436"/>
          <ac:cxnSpMkLst>
            <pc:docMk/>
            <pc:sldMk cId="2692683206" sldId="2147481932"/>
            <ac:cxnSpMk id="78" creationId="{4A079F2C-0CE8-B997-9165-0308E107DB67}"/>
          </ac:cxnSpMkLst>
        </pc:cxnChg>
      </pc:sldChg>
      <pc:sldChg chg="addSp delSp modSp new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1532914734" sldId="2147481933"/>
        </pc:sldMkLst>
      </pc:sldChg>
      <pc:sldChg chg="addSp delSp modSp add mod ord modNotesTx">
        <pc:chgData name="Yiqun Dai" userId="360a2182-b97f-4635-b990-04f846616e33" providerId="ADAL" clId="{8F04EA49-0EFC-48F3-A4D8-E0F0D3B461A8}" dt="2025-11-08T11:58:54.364" v="250155" actId="478"/>
        <pc:sldMkLst>
          <pc:docMk/>
          <pc:sldMk cId="3829580534" sldId="2147481934"/>
        </pc:sldMkLst>
        <pc:spChg chg="mod ord">
          <ac:chgData name="Yiqun Dai" userId="360a2182-b97f-4635-b990-04f846616e33" providerId="ADAL" clId="{8F04EA49-0EFC-48F3-A4D8-E0F0D3B461A8}" dt="2025-11-08T11:54:35.925" v="250046" actId="948"/>
          <ac:spMkLst>
            <pc:docMk/>
            <pc:sldMk cId="3829580534" sldId="2147481934"/>
            <ac:spMk id="2" creationId="{278A37AC-AD05-C7F5-1FDA-4C86873D81E6}"/>
          </ac:spMkLst>
        </pc:spChg>
        <pc:spChg chg="add mod ord">
          <ac:chgData name="Yiqun Dai" userId="360a2182-b97f-4635-b990-04f846616e33" providerId="ADAL" clId="{8F04EA49-0EFC-48F3-A4D8-E0F0D3B461A8}" dt="2025-11-07T09:55:52.787" v="244861"/>
          <ac:spMkLst>
            <pc:docMk/>
            <pc:sldMk cId="3829580534" sldId="2147481934"/>
            <ac:spMk id="15" creationId="{4A103377-C801-2B61-AF0A-2BF9A7099C61}"/>
          </ac:spMkLst>
        </pc:spChg>
        <pc:spChg chg="add mod">
          <ac:chgData name="Yiqun Dai" userId="360a2182-b97f-4635-b990-04f846616e33" providerId="ADAL" clId="{8F04EA49-0EFC-48F3-A4D8-E0F0D3B461A8}" dt="2025-11-08T11:52:51.249" v="249712"/>
          <ac:spMkLst>
            <pc:docMk/>
            <pc:sldMk cId="3829580534" sldId="2147481934"/>
            <ac:spMk id="17" creationId="{2F1216DB-C5F1-D7C8-4CC7-BCA2F1019C79}"/>
          </ac:spMkLst>
        </pc:spChg>
        <pc:spChg chg="mod">
          <ac:chgData name="Yiqun Dai" userId="360a2182-b97f-4635-b990-04f846616e33" providerId="ADAL" clId="{8F04EA49-0EFC-48F3-A4D8-E0F0D3B461A8}" dt="2025-11-07T09:55:52.723" v="244778"/>
          <ac:spMkLst>
            <pc:docMk/>
            <pc:sldMk cId="3829580534" sldId="2147481934"/>
            <ac:spMk id="18" creationId="{F43A72A9-B431-42E3-5480-AF874F40CF61}"/>
          </ac:spMkLst>
        </pc:spChg>
        <pc:spChg chg="mod">
          <ac:chgData name="Yiqun Dai" userId="360a2182-b97f-4635-b990-04f846616e33" providerId="ADAL" clId="{8F04EA49-0EFC-48F3-A4D8-E0F0D3B461A8}" dt="2025-11-07T09:55:52.739" v="244786"/>
          <ac:spMkLst>
            <pc:docMk/>
            <pc:sldMk cId="3829580534" sldId="2147481934"/>
            <ac:spMk id="20" creationId="{B6A5E9AF-F9C5-5B0B-BC41-15D6BC59E67D}"/>
          </ac:spMkLst>
        </pc:spChg>
        <pc:spChg chg="add mod">
          <ac:chgData name="Yiqun Dai" userId="360a2182-b97f-4635-b990-04f846616e33" providerId="ADAL" clId="{8F04EA49-0EFC-48F3-A4D8-E0F0D3B461A8}" dt="2025-11-07T09:55:52.755" v="244825"/>
          <ac:spMkLst>
            <pc:docMk/>
            <pc:sldMk cId="3829580534" sldId="2147481934"/>
            <ac:spMk id="22" creationId="{B51D1EA3-CFE3-EEEA-E714-45C6DB4A937E}"/>
          </ac:spMkLst>
        </pc:spChg>
        <pc:spChg chg="add mod ord">
          <ac:chgData name="Yiqun Dai" userId="360a2182-b97f-4635-b990-04f846616e33" providerId="ADAL" clId="{8F04EA49-0EFC-48F3-A4D8-E0F0D3B461A8}" dt="2025-11-07T09:58:59.743" v="244876" actId="20577"/>
          <ac:spMkLst>
            <pc:docMk/>
            <pc:sldMk cId="3829580534" sldId="2147481934"/>
            <ac:spMk id="23" creationId="{ACC49587-17C7-53E2-2433-687864B39EE6}"/>
          </ac:spMkLst>
        </pc:spChg>
        <pc:spChg chg="add mod ord">
          <ac:chgData name="Yiqun Dai" userId="360a2182-b97f-4635-b990-04f846616e33" providerId="ADAL" clId="{8F04EA49-0EFC-48F3-A4D8-E0F0D3B461A8}" dt="2025-11-07T09:59:04.822" v="244878" actId="20577"/>
          <ac:spMkLst>
            <pc:docMk/>
            <pc:sldMk cId="3829580534" sldId="2147481934"/>
            <ac:spMk id="24" creationId="{B0118694-CC71-4015-7662-0E2E6C66C639}"/>
          </ac:spMkLst>
        </pc:spChg>
        <pc:spChg chg="mod">
          <ac:chgData name="Yiqun Dai" userId="360a2182-b97f-4635-b990-04f846616e33" providerId="ADAL" clId="{8F04EA49-0EFC-48F3-A4D8-E0F0D3B461A8}" dt="2025-11-07T09:55:52.739" v="244799"/>
          <ac:spMkLst>
            <pc:docMk/>
            <pc:sldMk cId="3829580534" sldId="2147481934"/>
            <ac:spMk id="133" creationId="{34D9A0B1-FF50-257D-B1A5-FA7C8FD5D2B0}"/>
          </ac:spMkLst>
        </pc:spChg>
        <pc:spChg chg="mod">
          <ac:chgData name="Yiqun Dai" userId="360a2182-b97f-4635-b990-04f846616e33" providerId="ADAL" clId="{8F04EA49-0EFC-48F3-A4D8-E0F0D3B461A8}" dt="2025-11-07T09:55:52.755" v="244800"/>
          <ac:spMkLst>
            <pc:docMk/>
            <pc:sldMk cId="3829580534" sldId="2147481934"/>
            <ac:spMk id="134" creationId="{F984D200-FDB2-821F-0AD5-3AAD7577E475}"/>
          </ac:spMkLst>
        </pc:spChg>
        <pc:spChg chg="mod">
          <ac:chgData name="Yiqun Dai" userId="360a2182-b97f-4635-b990-04f846616e33" providerId="ADAL" clId="{8F04EA49-0EFC-48F3-A4D8-E0F0D3B461A8}" dt="2025-11-07T09:55:52.755" v="244801"/>
          <ac:spMkLst>
            <pc:docMk/>
            <pc:sldMk cId="3829580534" sldId="2147481934"/>
            <ac:spMk id="135" creationId="{E576F83E-556F-04A1-DDDD-BED5A3F1365C}"/>
          </ac:spMkLst>
        </pc:spChg>
        <pc:spChg chg="mod">
          <ac:chgData name="Yiqun Dai" userId="360a2182-b97f-4635-b990-04f846616e33" providerId="ADAL" clId="{8F04EA49-0EFC-48F3-A4D8-E0F0D3B461A8}" dt="2025-11-07T09:55:52.755" v="244802"/>
          <ac:spMkLst>
            <pc:docMk/>
            <pc:sldMk cId="3829580534" sldId="2147481934"/>
            <ac:spMk id="136" creationId="{ED28E0D5-1846-3991-0F70-92C5B61AB65B}"/>
          </ac:spMkLst>
        </pc:spChg>
        <pc:spChg chg="mod ord">
          <ac:chgData name="Yiqun Dai" userId="360a2182-b97f-4635-b990-04f846616e33" providerId="ADAL" clId="{8F04EA49-0EFC-48F3-A4D8-E0F0D3B461A8}" dt="2025-11-07T09:55:52.755" v="244804"/>
          <ac:spMkLst>
            <pc:docMk/>
            <pc:sldMk cId="3829580534" sldId="2147481934"/>
            <ac:spMk id="137" creationId="{BB386973-F59D-476F-5ED2-8B7B1FB4DF11}"/>
          </ac:spMkLst>
        </pc:spChg>
        <pc:spChg chg="mod">
          <ac:chgData name="Yiqun Dai" userId="360a2182-b97f-4635-b990-04f846616e33" providerId="ADAL" clId="{8F04EA49-0EFC-48F3-A4D8-E0F0D3B461A8}" dt="2025-11-07T09:55:52.755" v="244805"/>
          <ac:spMkLst>
            <pc:docMk/>
            <pc:sldMk cId="3829580534" sldId="2147481934"/>
            <ac:spMk id="138" creationId="{1783964A-FCA7-51DE-0480-6C903FB8E5C5}"/>
          </ac:spMkLst>
        </pc:spChg>
        <pc:spChg chg="mod">
          <ac:chgData name="Yiqun Dai" userId="360a2182-b97f-4635-b990-04f846616e33" providerId="ADAL" clId="{8F04EA49-0EFC-48F3-A4D8-E0F0D3B461A8}" dt="2025-11-07T09:55:52.755" v="244806"/>
          <ac:spMkLst>
            <pc:docMk/>
            <pc:sldMk cId="3829580534" sldId="2147481934"/>
            <ac:spMk id="139" creationId="{E465AA34-ACC2-C212-CBB5-608E3E73AD9C}"/>
          </ac:spMkLst>
        </pc:spChg>
        <pc:spChg chg="mod">
          <ac:chgData name="Yiqun Dai" userId="360a2182-b97f-4635-b990-04f846616e33" providerId="ADAL" clId="{8F04EA49-0EFC-48F3-A4D8-E0F0D3B461A8}" dt="2025-11-07T09:55:52.755" v="244807"/>
          <ac:spMkLst>
            <pc:docMk/>
            <pc:sldMk cId="3829580534" sldId="2147481934"/>
            <ac:spMk id="140" creationId="{626DAB8F-F3A2-D383-4A40-5358F6A8CA71}"/>
          </ac:spMkLst>
        </pc:spChg>
        <pc:spChg chg="mod">
          <ac:chgData name="Yiqun Dai" userId="360a2182-b97f-4635-b990-04f846616e33" providerId="ADAL" clId="{8F04EA49-0EFC-48F3-A4D8-E0F0D3B461A8}" dt="2025-11-07T09:55:52.755" v="244808"/>
          <ac:spMkLst>
            <pc:docMk/>
            <pc:sldMk cId="3829580534" sldId="2147481934"/>
            <ac:spMk id="141" creationId="{CFB05BAF-8E1A-BAD6-1F75-F1CA3103EB14}"/>
          </ac:spMkLst>
        </pc:spChg>
        <pc:spChg chg="mod">
          <ac:chgData name="Yiqun Dai" userId="360a2182-b97f-4635-b990-04f846616e33" providerId="ADAL" clId="{8F04EA49-0EFC-48F3-A4D8-E0F0D3B461A8}" dt="2025-11-07T09:55:52.755" v="244809"/>
          <ac:spMkLst>
            <pc:docMk/>
            <pc:sldMk cId="3829580534" sldId="2147481934"/>
            <ac:spMk id="142" creationId="{2047E2BE-3D52-36B3-9736-2F615626D64D}"/>
          </ac:spMkLst>
        </pc:spChg>
        <pc:spChg chg="mod ord">
          <ac:chgData name="Yiqun Dai" userId="360a2182-b97f-4635-b990-04f846616e33" providerId="ADAL" clId="{8F04EA49-0EFC-48F3-A4D8-E0F0D3B461A8}" dt="2025-11-07T09:55:52.755" v="244811"/>
          <ac:spMkLst>
            <pc:docMk/>
            <pc:sldMk cId="3829580534" sldId="2147481934"/>
            <ac:spMk id="143" creationId="{D5CF4083-6A60-3A60-56C1-B2C05CC22146}"/>
          </ac:spMkLst>
        </pc:spChg>
        <pc:spChg chg="mod">
          <ac:chgData name="Yiqun Dai" userId="360a2182-b97f-4635-b990-04f846616e33" providerId="ADAL" clId="{8F04EA49-0EFC-48F3-A4D8-E0F0D3B461A8}" dt="2025-11-07T09:55:52.755" v="244812"/>
          <ac:spMkLst>
            <pc:docMk/>
            <pc:sldMk cId="3829580534" sldId="2147481934"/>
            <ac:spMk id="144" creationId="{A63880FC-DA7D-DE51-3A30-A5271227E1A6}"/>
          </ac:spMkLst>
        </pc:spChg>
        <pc:spChg chg="mod">
          <ac:chgData name="Yiqun Dai" userId="360a2182-b97f-4635-b990-04f846616e33" providerId="ADAL" clId="{8F04EA49-0EFC-48F3-A4D8-E0F0D3B461A8}" dt="2025-11-07T09:55:52.755" v="244813"/>
          <ac:spMkLst>
            <pc:docMk/>
            <pc:sldMk cId="3829580534" sldId="2147481934"/>
            <ac:spMk id="145" creationId="{D2938EFF-8EED-1D65-B92E-A7976F23ABD6}"/>
          </ac:spMkLst>
        </pc:spChg>
        <pc:spChg chg="mod">
          <ac:chgData name="Yiqun Dai" userId="360a2182-b97f-4635-b990-04f846616e33" providerId="ADAL" clId="{8F04EA49-0EFC-48F3-A4D8-E0F0D3B461A8}" dt="2025-11-07T09:55:52.755" v="244814"/>
          <ac:spMkLst>
            <pc:docMk/>
            <pc:sldMk cId="3829580534" sldId="2147481934"/>
            <ac:spMk id="146" creationId="{18E54252-72A2-EF4C-580D-B136FA25CE8F}"/>
          </ac:spMkLst>
        </pc:spChg>
        <pc:spChg chg="mod ord">
          <ac:chgData name="Yiqun Dai" userId="360a2182-b97f-4635-b990-04f846616e33" providerId="ADAL" clId="{8F04EA49-0EFC-48F3-A4D8-E0F0D3B461A8}" dt="2025-11-07T09:55:52.755" v="244816"/>
          <ac:spMkLst>
            <pc:docMk/>
            <pc:sldMk cId="3829580534" sldId="2147481934"/>
            <ac:spMk id="147" creationId="{5FC4F210-5D86-0AB8-BE66-4E8A84ECBAAF}"/>
          </ac:spMkLst>
        </pc:spChg>
        <pc:spChg chg="mod ord">
          <ac:chgData name="Yiqun Dai" userId="360a2182-b97f-4635-b990-04f846616e33" providerId="ADAL" clId="{8F04EA49-0EFC-48F3-A4D8-E0F0D3B461A8}" dt="2025-11-07T09:55:52.755" v="244818"/>
          <ac:spMkLst>
            <pc:docMk/>
            <pc:sldMk cId="3829580534" sldId="2147481934"/>
            <ac:spMk id="148" creationId="{CC2E9F28-58F2-0808-F3D1-5D2575667207}"/>
          </ac:spMkLst>
        </pc:spChg>
        <pc:spChg chg="mod ord">
          <ac:chgData name="Yiqun Dai" userId="360a2182-b97f-4635-b990-04f846616e33" providerId="ADAL" clId="{8F04EA49-0EFC-48F3-A4D8-E0F0D3B461A8}" dt="2025-11-07T09:55:52.755" v="244820"/>
          <ac:spMkLst>
            <pc:docMk/>
            <pc:sldMk cId="3829580534" sldId="2147481934"/>
            <ac:spMk id="149" creationId="{92E2C93A-0B06-EA2B-6C20-A4739F0C2BF3}"/>
          </ac:spMkLst>
        </pc:spChg>
        <pc:spChg chg="mod ord">
          <ac:chgData name="Yiqun Dai" userId="360a2182-b97f-4635-b990-04f846616e33" providerId="ADAL" clId="{8F04EA49-0EFC-48F3-A4D8-E0F0D3B461A8}" dt="2025-11-07T09:55:52.755" v="244822"/>
          <ac:spMkLst>
            <pc:docMk/>
            <pc:sldMk cId="3829580534" sldId="2147481934"/>
            <ac:spMk id="150" creationId="{93D6BC83-E867-D33E-8328-44DD43431A31}"/>
          </ac:spMkLst>
        </pc:spChg>
        <pc:spChg chg="mod ord">
          <ac:chgData name="Yiqun Dai" userId="360a2182-b97f-4635-b990-04f846616e33" providerId="ADAL" clId="{8F04EA49-0EFC-48F3-A4D8-E0F0D3B461A8}" dt="2025-11-07T09:55:52.755" v="244824"/>
          <ac:spMkLst>
            <pc:docMk/>
            <pc:sldMk cId="3829580534" sldId="2147481934"/>
            <ac:spMk id="151" creationId="{F670F7CA-C795-80D3-C2E0-A6299000B47D}"/>
          </ac:spMkLst>
        </pc:spChg>
        <pc:spChg chg="mod">
          <ac:chgData name="Yiqun Dai" userId="360a2182-b97f-4635-b990-04f846616e33" providerId="ADAL" clId="{8F04EA49-0EFC-48F3-A4D8-E0F0D3B461A8}" dt="2025-11-08T11:52:51.203" v="249682"/>
          <ac:spMkLst>
            <pc:docMk/>
            <pc:sldMk cId="3829580534" sldId="2147481934"/>
            <ac:spMk id="153" creationId="{2BC05C50-9D1E-4A9A-319A-E066D3415B54}"/>
          </ac:spMkLst>
        </pc:spChg>
        <pc:spChg chg="mod">
          <ac:chgData name="Yiqun Dai" userId="360a2182-b97f-4635-b990-04f846616e33" providerId="ADAL" clId="{8F04EA49-0EFC-48F3-A4D8-E0F0D3B461A8}" dt="2025-11-08T11:52:51.235" v="249703"/>
          <ac:spMkLst>
            <pc:docMk/>
            <pc:sldMk cId="3829580534" sldId="2147481934"/>
            <ac:spMk id="154" creationId="{F08EC7B1-9694-D47B-253D-9B958C33ED57}"/>
          </ac:spMkLst>
        </pc:spChg>
        <pc:spChg chg="mod">
          <ac:chgData name="Yiqun Dai" userId="360a2182-b97f-4635-b990-04f846616e33" providerId="ADAL" clId="{8F04EA49-0EFC-48F3-A4D8-E0F0D3B461A8}" dt="2025-11-08T11:52:51.245" v="249706"/>
          <ac:spMkLst>
            <pc:docMk/>
            <pc:sldMk cId="3829580534" sldId="2147481934"/>
            <ac:spMk id="155" creationId="{F9D56110-1671-5B97-CA27-C2B6D88D52D8}"/>
          </ac:spMkLst>
        </pc:spChg>
        <pc:spChg chg="mod">
          <ac:chgData name="Yiqun Dai" userId="360a2182-b97f-4635-b990-04f846616e33" providerId="ADAL" clId="{8F04EA49-0EFC-48F3-A4D8-E0F0D3B461A8}" dt="2025-11-08T11:52:51.249" v="249709"/>
          <ac:spMkLst>
            <pc:docMk/>
            <pc:sldMk cId="3829580534" sldId="2147481934"/>
            <ac:spMk id="156" creationId="{9A973DB6-B33D-9FEA-0E31-C92560C794CC}"/>
          </ac:spMkLst>
        </pc:spChg>
        <pc:spChg chg="mod ord">
          <ac:chgData name="Yiqun Dai" userId="360a2182-b97f-4635-b990-04f846616e33" providerId="ADAL" clId="{8F04EA49-0EFC-48F3-A4D8-E0F0D3B461A8}" dt="2025-11-07T09:55:52.771" v="244836"/>
          <ac:spMkLst>
            <pc:docMk/>
            <pc:sldMk cId="3829580534" sldId="2147481934"/>
            <ac:spMk id="171" creationId="{51A010F1-CBBA-2FF7-5F55-08C24B4BAFF8}"/>
          </ac:spMkLst>
        </pc:spChg>
        <pc:spChg chg="mod ord">
          <ac:chgData name="Yiqun Dai" userId="360a2182-b97f-4635-b990-04f846616e33" providerId="ADAL" clId="{8F04EA49-0EFC-48F3-A4D8-E0F0D3B461A8}" dt="2025-11-07T09:55:52.771" v="244838"/>
          <ac:spMkLst>
            <pc:docMk/>
            <pc:sldMk cId="3829580534" sldId="2147481934"/>
            <ac:spMk id="172" creationId="{488F4B9C-2DC6-91A7-BFC3-39A4292C7601}"/>
          </ac:spMkLst>
        </pc:spChg>
        <pc:spChg chg="mod ord">
          <ac:chgData name="Yiqun Dai" userId="360a2182-b97f-4635-b990-04f846616e33" providerId="ADAL" clId="{8F04EA49-0EFC-48F3-A4D8-E0F0D3B461A8}" dt="2025-11-07T09:55:52.771" v="244840"/>
          <ac:spMkLst>
            <pc:docMk/>
            <pc:sldMk cId="3829580534" sldId="2147481934"/>
            <ac:spMk id="173" creationId="{F734EDEE-81E2-BE77-7EA6-2DCF6F3365B3}"/>
          </ac:spMkLst>
        </pc:spChg>
        <pc:spChg chg="mod">
          <ac:chgData name="Yiqun Dai" userId="360a2182-b97f-4635-b990-04f846616e33" providerId="ADAL" clId="{8F04EA49-0EFC-48F3-A4D8-E0F0D3B461A8}" dt="2025-11-07T09:55:52.723" v="244771"/>
          <ac:spMkLst>
            <pc:docMk/>
            <pc:sldMk cId="3829580534" sldId="2147481934"/>
            <ac:spMk id="189" creationId="{C777A144-5DAB-9761-177B-11390B1A57F2}"/>
          </ac:spMkLst>
        </pc:spChg>
        <pc:spChg chg="mod ord">
          <ac:chgData name="Yiqun Dai" userId="360a2182-b97f-4635-b990-04f846616e33" providerId="ADAL" clId="{8F04EA49-0EFC-48F3-A4D8-E0F0D3B461A8}" dt="2025-11-07T09:55:52.723" v="244773"/>
          <ac:spMkLst>
            <pc:docMk/>
            <pc:sldMk cId="3829580534" sldId="2147481934"/>
            <ac:spMk id="190" creationId="{3336E68E-4BFB-ECC2-3996-CBC2F52632A2}"/>
          </ac:spMkLst>
        </pc:spChg>
        <pc:spChg chg="mod ord">
          <ac:chgData name="Yiqun Dai" userId="360a2182-b97f-4635-b990-04f846616e33" providerId="ADAL" clId="{8F04EA49-0EFC-48F3-A4D8-E0F0D3B461A8}" dt="2025-11-07T09:55:52.723" v="244775"/>
          <ac:spMkLst>
            <pc:docMk/>
            <pc:sldMk cId="3829580534" sldId="2147481934"/>
            <ac:spMk id="191" creationId="{947CDD78-E4F5-07DD-09A6-2256315B3E6D}"/>
          </ac:spMkLst>
        </pc:spChg>
        <pc:spChg chg="mod ord">
          <ac:chgData name="Yiqun Dai" userId="360a2182-b97f-4635-b990-04f846616e33" providerId="ADAL" clId="{8F04EA49-0EFC-48F3-A4D8-E0F0D3B461A8}" dt="2025-11-07T09:55:52.723" v="244776"/>
          <ac:spMkLst>
            <pc:docMk/>
            <pc:sldMk cId="3829580534" sldId="2147481934"/>
            <ac:spMk id="192" creationId="{C4CA2FBA-28FE-4223-4BE4-33583552196B}"/>
          </ac:spMkLst>
        </pc:spChg>
        <pc:spChg chg="mod ord">
          <ac:chgData name="Yiqun Dai" userId="360a2182-b97f-4635-b990-04f846616e33" providerId="ADAL" clId="{8F04EA49-0EFC-48F3-A4D8-E0F0D3B461A8}" dt="2025-11-07T09:55:52.723" v="244777"/>
          <ac:spMkLst>
            <pc:docMk/>
            <pc:sldMk cId="3829580534" sldId="2147481934"/>
            <ac:spMk id="193" creationId="{B7595E2C-2748-256D-05CC-F146CACDC0D7}"/>
          </ac:spMkLst>
        </pc:spChg>
        <pc:spChg chg="mod">
          <ac:chgData name="Yiqun Dai" userId="360a2182-b97f-4635-b990-04f846616e33" providerId="ADAL" clId="{8F04EA49-0EFC-48F3-A4D8-E0F0D3B461A8}" dt="2025-11-07T09:55:52.739" v="244787"/>
          <ac:spMkLst>
            <pc:docMk/>
            <pc:sldMk cId="3829580534" sldId="2147481934"/>
            <ac:spMk id="195" creationId="{35E32FB4-95D3-BF63-2B56-864881595B50}"/>
          </ac:spMkLst>
        </pc:spChg>
        <pc:spChg chg="mod ord">
          <ac:chgData name="Yiqun Dai" userId="360a2182-b97f-4635-b990-04f846616e33" providerId="ADAL" clId="{8F04EA49-0EFC-48F3-A4D8-E0F0D3B461A8}" dt="2025-11-07T09:55:52.739" v="244780"/>
          <ac:spMkLst>
            <pc:docMk/>
            <pc:sldMk cId="3829580534" sldId="2147481934"/>
            <ac:spMk id="196" creationId="{BCEDCD3B-CAE7-85CC-E3AB-16390C4502D7}"/>
          </ac:spMkLst>
        </pc:spChg>
        <pc:spChg chg="mod ord">
          <ac:chgData name="Yiqun Dai" userId="360a2182-b97f-4635-b990-04f846616e33" providerId="ADAL" clId="{8F04EA49-0EFC-48F3-A4D8-E0F0D3B461A8}" dt="2025-11-07T09:55:52.739" v="244781"/>
          <ac:spMkLst>
            <pc:docMk/>
            <pc:sldMk cId="3829580534" sldId="2147481934"/>
            <ac:spMk id="197" creationId="{DB3BE6E2-E313-A686-7EF6-122DB5314A8A}"/>
          </ac:spMkLst>
        </pc:spChg>
        <pc:spChg chg="mod ord">
          <ac:chgData name="Yiqun Dai" userId="360a2182-b97f-4635-b990-04f846616e33" providerId="ADAL" clId="{8F04EA49-0EFC-48F3-A4D8-E0F0D3B461A8}" dt="2025-11-07T09:55:52.739" v="244783"/>
          <ac:spMkLst>
            <pc:docMk/>
            <pc:sldMk cId="3829580534" sldId="2147481934"/>
            <ac:spMk id="198" creationId="{885B4C29-6FB3-744B-93C5-7EFCFF1EDD56}"/>
          </ac:spMkLst>
        </pc:spChg>
        <pc:spChg chg="mod ord">
          <ac:chgData name="Yiqun Dai" userId="360a2182-b97f-4635-b990-04f846616e33" providerId="ADAL" clId="{8F04EA49-0EFC-48F3-A4D8-E0F0D3B461A8}" dt="2025-11-07T09:55:52.739" v="244784"/>
          <ac:spMkLst>
            <pc:docMk/>
            <pc:sldMk cId="3829580534" sldId="2147481934"/>
            <ac:spMk id="199" creationId="{FF2B5B09-4C0F-6FAD-B29D-2798B57F4F3E}"/>
          </ac:spMkLst>
        </pc:spChg>
        <pc:spChg chg="mod ord">
          <ac:chgData name="Yiqun Dai" userId="360a2182-b97f-4635-b990-04f846616e33" providerId="ADAL" clId="{8F04EA49-0EFC-48F3-A4D8-E0F0D3B461A8}" dt="2025-11-07T09:55:52.739" v="244785"/>
          <ac:spMkLst>
            <pc:docMk/>
            <pc:sldMk cId="3829580534" sldId="2147481934"/>
            <ac:spMk id="200" creationId="{BCC93580-63DA-4DCD-63BB-741C17F1F9E8}"/>
          </ac:spMkLst>
        </pc:spChg>
        <pc:spChg chg="mod">
          <ac:chgData name="Yiqun Dai" userId="360a2182-b97f-4635-b990-04f846616e33" providerId="ADAL" clId="{8F04EA49-0EFC-48F3-A4D8-E0F0D3B461A8}" dt="2025-11-07T09:55:52.739" v="244788"/>
          <ac:spMkLst>
            <pc:docMk/>
            <pc:sldMk cId="3829580534" sldId="2147481934"/>
            <ac:spMk id="202" creationId="{049A0AEC-2F3B-1A15-A2B2-05710674AB1B}"/>
          </ac:spMkLst>
        </pc:spChg>
        <pc:spChg chg="mod">
          <ac:chgData name="Yiqun Dai" userId="360a2182-b97f-4635-b990-04f846616e33" providerId="ADAL" clId="{8F04EA49-0EFC-48F3-A4D8-E0F0D3B461A8}" dt="2025-11-08T11:52:51.265" v="249717"/>
          <ac:spMkLst>
            <pc:docMk/>
            <pc:sldMk cId="3829580534" sldId="2147481934"/>
            <ac:spMk id="212" creationId="{E4C6BDE5-1543-ACA6-9466-24BA187A93D3}"/>
          </ac:spMkLst>
        </pc:spChg>
        <pc:spChg chg="mod">
          <ac:chgData name="Yiqun Dai" userId="360a2182-b97f-4635-b990-04f846616e33" providerId="ADAL" clId="{8F04EA49-0EFC-48F3-A4D8-E0F0D3B461A8}" dt="2025-11-08T11:52:51.265" v="249722"/>
          <ac:spMkLst>
            <pc:docMk/>
            <pc:sldMk cId="3829580534" sldId="2147481934"/>
            <ac:spMk id="214" creationId="{266BEFE0-2BAE-FE9D-74EC-BB45B975B5A4}"/>
          </ac:spMkLst>
        </pc:spChg>
        <pc:spChg chg="mod">
          <ac:chgData name="Yiqun Dai" userId="360a2182-b97f-4635-b990-04f846616e33" providerId="ADAL" clId="{8F04EA49-0EFC-48F3-A4D8-E0F0D3B461A8}" dt="2025-11-08T11:52:51.281" v="249725"/>
          <ac:spMkLst>
            <pc:docMk/>
            <pc:sldMk cId="3829580534" sldId="2147481934"/>
            <ac:spMk id="216" creationId="{A61E0BF6-F585-DE2F-B5B8-7293EEC99631}"/>
          </ac:spMkLst>
        </pc:spChg>
        <pc:spChg chg="mod">
          <ac:chgData name="Yiqun Dai" userId="360a2182-b97f-4635-b990-04f846616e33" providerId="ADAL" clId="{8F04EA49-0EFC-48F3-A4D8-E0F0D3B461A8}" dt="2025-11-08T11:52:51.281" v="249728"/>
          <ac:spMkLst>
            <pc:docMk/>
            <pc:sldMk cId="3829580534" sldId="2147481934"/>
            <ac:spMk id="217" creationId="{A0B501F8-03F1-0A38-EA9D-A17C6A0A335B}"/>
          </ac:spMkLst>
        </pc:spChg>
        <pc:spChg chg="mod">
          <ac:chgData name="Yiqun Dai" userId="360a2182-b97f-4635-b990-04f846616e33" providerId="ADAL" clId="{8F04EA49-0EFC-48F3-A4D8-E0F0D3B461A8}" dt="2025-11-08T11:52:51.281" v="249731"/>
          <ac:spMkLst>
            <pc:docMk/>
            <pc:sldMk cId="3829580534" sldId="2147481934"/>
            <ac:spMk id="218" creationId="{1915A7A8-2846-7EDC-0E54-BF7262428E46}"/>
          </ac:spMkLst>
        </pc:spChg>
        <pc:spChg chg="mod ord">
          <ac:chgData name="Yiqun Dai" userId="360a2182-b97f-4635-b990-04f846616e33" providerId="ADAL" clId="{8F04EA49-0EFC-48F3-A4D8-E0F0D3B461A8}" dt="2025-11-07T09:55:52.771" v="244846"/>
          <ac:spMkLst>
            <pc:docMk/>
            <pc:sldMk cId="3829580534" sldId="2147481934"/>
            <ac:spMk id="220" creationId="{84B30B41-3D63-110D-C6C4-D92405FC5F3A}"/>
          </ac:spMkLst>
        </pc:spChg>
        <pc:spChg chg="mod ord">
          <ac:chgData name="Yiqun Dai" userId="360a2182-b97f-4635-b990-04f846616e33" providerId="ADAL" clId="{8F04EA49-0EFC-48F3-A4D8-E0F0D3B461A8}" dt="2025-11-07T09:55:52.771" v="244848"/>
          <ac:spMkLst>
            <pc:docMk/>
            <pc:sldMk cId="3829580534" sldId="2147481934"/>
            <ac:spMk id="221" creationId="{17A21362-DFA2-107E-17F3-A10741F34C75}"/>
          </ac:spMkLst>
        </pc:spChg>
        <pc:spChg chg="mod ord">
          <ac:chgData name="Yiqun Dai" userId="360a2182-b97f-4635-b990-04f846616e33" providerId="ADAL" clId="{8F04EA49-0EFC-48F3-A4D8-E0F0D3B461A8}" dt="2025-11-07T09:55:52.771" v="244850"/>
          <ac:spMkLst>
            <pc:docMk/>
            <pc:sldMk cId="3829580534" sldId="2147481934"/>
            <ac:spMk id="222" creationId="{98CA396F-DF7D-5CFC-4635-434CD910594D}"/>
          </ac:spMkLst>
        </pc:spChg>
        <pc:spChg chg="mod ord">
          <ac:chgData name="Yiqun Dai" userId="360a2182-b97f-4635-b990-04f846616e33" providerId="ADAL" clId="{8F04EA49-0EFC-48F3-A4D8-E0F0D3B461A8}" dt="2025-11-07T09:55:52.771" v="244852"/>
          <ac:spMkLst>
            <pc:docMk/>
            <pc:sldMk cId="3829580534" sldId="2147481934"/>
            <ac:spMk id="223" creationId="{6A483516-4D5B-3D59-58D5-573AC158F4D1}"/>
          </ac:spMkLst>
        </pc:spChg>
        <pc:spChg chg="mod ord">
          <ac:chgData name="Yiqun Dai" userId="360a2182-b97f-4635-b990-04f846616e33" providerId="ADAL" clId="{8F04EA49-0EFC-48F3-A4D8-E0F0D3B461A8}" dt="2025-11-07T09:55:52.771" v="244854"/>
          <ac:spMkLst>
            <pc:docMk/>
            <pc:sldMk cId="3829580534" sldId="2147481934"/>
            <ac:spMk id="224" creationId="{266E575C-98F1-D09E-CAA3-94D0AAF3ED38}"/>
          </ac:spMkLst>
        </pc:spChg>
        <pc:spChg chg="mod ord">
          <ac:chgData name="Yiqun Dai" userId="360a2182-b97f-4635-b990-04f846616e33" providerId="ADAL" clId="{8F04EA49-0EFC-48F3-A4D8-E0F0D3B461A8}" dt="2025-11-07T09:55:52.739" v="244790"/>
          <ac:spMkLst>
            <pc:docMk/>
            <pc:sldMk cId="3829580534" sldId="2147481934"/>
            <ac:spMk id="226" creationId="{DC20FA80-A269-2DF3-92C3-D523233343CD}"/>
          </ac:spMkLst>
        </pc:spChg>
        <pc:graphicFrameChg chg="add mod ord">
          <ac:chgData name="Yiqun Dai" userId="360a2182-b97f-4635-b990-04f846616e33" providerId="ADAL" clId="{8F04EA49-0EFC-48F3-A4D8-E0F0D3B461A8}" dt="2025-11-07T09:55:52.723" v="244764"/>
          <ac:graphicFrameMkLst>
            <pc:docMk/>
            <pc:sldMk cId="3829580534" sldId="2147481934"/>
            <ac:graphicFrameMk id="10" creationId="{C02CD86E-2385-E5F6-B2B3-207825E07B00}"/>
          </ac:graphicFrameMkLst>
        </pc:graphicFrameChg>
        <pc:graphicFrameChg chg="mod">
          <ac:chgData name="Yiqun Dai" userId="360a2182-b97f-4635-b990-04f846616e33" providerId="ADAL" clId="{8F04EA49-0EFC-48F3-A4D8-E0F0D3B461A8}" dt="2025-11-08T11:54:36.017" v="250070"/>
          <ac:graphicFrameMkLst>
            <pc:docMk/>
            <pc:sldMk cId="3829580534" sldId="2147481934"/>
            <ac:graphicFrameMk id="16" creationId="{B94CFC1D-F52B-2E3B-7AE0-EE8808DCB3DD}"/>
          </ac:graphicFrameMkLst>
        </pc:graphicFrameChg>
        <pc:graphicFrameChg chg="add mod ord">
          <ac:chgData name="Yiqun Dai" userId="360a2182-b97f-4635-b990-04f846616e33" providerId="ADAL" clId="{8F04EA49-0EFC-48F3-A4D8-E0F0D3B461A8}" dt="2025-11-07T09:55:52.739" v="244792"/>
          <ac:graphicFrameMkLst>
            <pc:docMk/>
            <pc:sldMk cId="3829580534" sldId="2147481934"/>
            <ac:graphicFrameMk id="21" creationId="{1690C32B-5C26-02CC-7490-871B2033C5FE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9:55:52.771" v="244832"/>
          <ac:graphicFrameMkLst>
            <pc:docMk/>
            <pc:sldMk cId="3829580534" sldId="2147481934"/>
            <ac:graphicFrameMk id="168" creationId="{934DADF8-0A9C-CD15-F81E-00C06E0892B6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9:58:49.831" v="244871" actId="403"/>
          <ac:graphicFrameMkLst>
            <pc:docMk/>
            <pc:sldMk cId="3829580534" sldId="2147481934"/>
            <ac:graphicFrameMk id="170" creationId="{E54797A4-E7A7-4CEF-4F8B-D52CF73CB7BB}"/>
          </ac:graphicFrameMkLst>
        </pc:graphicFrameChg>
        <pc:cxnChg chg="mod ord">
          <ac:chgData name="Yiqun Dai" userId="360a2182-b97f-4635-b990-04f846616e33" providerId="ADAL" clId="{8F04EA49-0EFC-48F3-A4D8-E0F0D3B461A8}" dt="2025-11-07T09:55:52.739" v="244794"/>
          <ac:cxnSpMkLst>
            <pc:docMk/>
            <pc:sldMk cId="3829580534" sldId="2147481934"/>
            <ac:cxnSpMk id="130" creationId="{CE4630F9-A19E-9EE0-147D-18AAB1473823}"/>
          </ac:cxnSpMkLst>
        </pc:cxnChg>
        <pc:cxnChg chg="mod ord">
          <ac:chgData name="Yiqun Dai" userId="360a2182-b97f-4635-b990-04f846616e33" providerId="ADAL" clId="{8F04EA49-0EFC-48F3-A4D8-E0F0D3B461A8}" dt="2025-11-07T09:55:52.739" v="244796"/>
          <ac:cxnSpMkLst>
            <pc:docMk/>
            <pc:sldMk cId="3829580534" sldId="2147481934"/>
            <ac:cxnSpMk id="131" creationId="{3AD927E6-F63F-7BF4-F968-0E0E95D87971}"/>
          </ac:cxnSpMkLst>
        </pc:cxnChg>
        <pc:cxnChg chg="mod ord">
          <ac:chgData name="Yiqun Dai" userId="360a2182-b97f-4635-b990-04f846616e33" providerId="ADAL" clId="{8F04EA49-0EFC-48F3-A4D8-E0F0D3B461A8}" dt="2025-11-07T09:55:52.739" v="244798"/>
          <ac:cxnSpMkLst>
            <pc:docMk/>
            <pc:sldMk cId="3829580534" sldId="2147481934"/>
            <ac:cxnSpMk id="132" creationId="{210C6D30-8ADF-1C24-5F67-EBCEF938DDED}"/>
          </ac:cxnSpMkLst>
        </pc:cxnChg>
        <pc:cxnChg chg="mod ord">
          <ac:chgData name="Yiqun Dai" userId="360a2182-b97f-4635-b990-04f846616e33" providerId="ADAL" clId="{8F04EA49-0EFC-48F3-A4D8-E0F0D3B461A8}" dt="2025-11-07T09:55:52.771" v="244842"/>
          <ac:cxnSpMkLst>
            <pc:docMk/>
            <pc:sldMk cId="3829580534" sldId="2147481934"/>
            <ac:cxnSpMk id="176" creationId="{7B4158EF-BE8C-B4A5-FE80-91D74D7232D6}"/>
          </ac:cxnSpMkLst>
        </pc:cxnChg>
        <pc:cxnChg chg="mod ord">
          <ac:chgData name="Yiqun Dai" userId="360a2182-b97f-4635-b990-04f846616e33" providerId="ADAL" clId="{8F04EA49-0EFC-48F3-A4D8-E0F0D3B461A8}" dt="2025-11-07T09:55:52.771" v="244844"/>
          <ac:cxnSpMkLst>
            <pc:docMk/>
            <pc:sldMk cId="3829580534" sldId="2147481934"/>
            <ac:cxnSpMk id="178" creationId="{4DA69E04-DF07-462E-3DFA-239CA89B0699}"/>
          </ac:cxnSpMkLst>
        </pc:cxnChg>
        <pc:cxnChg chg="mod ord">
          <ac:chgData name="Yiqun Dai" userId="360a2182-b97f-4635-b990-04f846616e33" providerId="ADAL" clId="{8F04EA49-0EFC-48F3-A4D8-E0F0D3B461A8}" dt="2025-11-07T09:55:52.723" v="244766"/>
          <ac:cxnSpMkLst>
            <pc:docMk/>
            <pc:sldMk cId="3829580534" sldId="2147481934"/>
            <ac:cxnSpMk id="228" creationId="{6396FC13-4F90-DC6F-4C39-0C1F5B8E0187}"/>
          </ac:cxnSpMkLst>
        </pc:cxnChg>
        <pc:cxnChg chg="mod ord">
          <ac:chgData name="Yiqun Dai" userId="360a2182-b97f-4635-b990-04f846616e33" providerId="ADAL" clId="{8F04EA49-0EFC-48F3-A4D8-E0F0D3B461A8}" dt="2025-11-07T09:55:52.723" v="244768"/>
          <ac:cxnSpMkLst>
            <pc:docMk/>
            <pc:sldMk cId="3829580534" sldId="2147481934"/>
            <ac:cxnSpMk id="229" creationId="{BED14E0F-3895-23D5-35B3-235C1DF911F0}"/>
          </ac:cxnSpMkLst>
        </pc:cxnChg>
        <pc:cxnChg chg="mod ord">
          <ac:chgData name="Yiqun Dai" userId="360a2182-b97f-4635-b990-04f846616e33" providerId="ADAL" clId="{8F04EA49-0EFC-48F3-A4D8-E0F0D3B461A8}" dt="2025-11-07T09:55:52.723" v="244770"/>
          <ac:cxnSpMkLst>
            <pc:docMk/>
            <pc:sldMk cId="3829580534" sldId="2147481934"/>
            <ac:cxnSpMk id="230" creationId="{46C388D3-7051-46D8-C2FB-BA466BE5CC9D}"/>
          </ac:cxnSpMkLst>
        </pc:cxnChg>
      </pc:sldChg>
      <pc:sldChg chg="addSp delSp modSp new mod ord modNotesTx">
        <pc:chgData name="Yiqun Dai" userId="360a2182-b97f-4635-b990-04f846616e33" providerId="ADAL" clId="{8F04EA49-0EFC-48F3-A4D8-E0F0D3B461A8}" dt="2025-11-07T08:07:32.319" v="241690" actId="20577"/>
        <pc:sldMkLst>
          <pc:docMk/>
          <pc:sldMk cId="3686276671" sldId="2147481935"/>
        </pc:sldMkLst>
        <pc:spChg chg="mod ord">
          <ac:chgData name="Yiqun Dai" userId="360a2182-b97f-4635-b990-04f846616e33" providerId="ADAL" clId="{8F04EA49-0EFC-48F3-A4D8-E0F0D3B461A8}" dt="2025-11-06T09:56:16.534" v="216585" actId="948"/>
          <ac:spMkLst>
            <pc:docMk/>
            <pc:sldMk cId="3686276671" sldId="2147481935"/>
            <ac:spMk id="2" creationId="{3260AD85-A093-F255-29AF-98CEE1B520F1}"/>
          </ac:spMkLst>
        </pc:spChg>
        <pc:spChg chg="add mod">
          <ac:chgData name="Yiqun Dai" userId="360a2182-b97f-4635-b990-04f846616e33" providerId="ADAL" clId="{8F04EA49-0EFC-48F3-A4D8-E0F0D3B461A8}" dt="2025-11-06T09:41:04.240" v="211853"/>
          <ac:spMkLst>
            <pc:docMk/>
            <pc:sldMk cId="3686276671" sldId="2147481935"/>
            <ac:spMk id="3" creationId="{9D5C54A0-1704-CBDF-39BB-89DA96DB902A}"/>
          </ac:spMkLst>
        </pc:spChg>
        <pc:spChg chg="add mod">
          <ac:chgData name="Yiqun Dai" userId="360a2182-b97f-4635-b990-04f846616e33" providerId="ADAL" clId="{8F04EA49-0EFC-48F3-A4D8-E0F0D3B461A8}" dt="2025-11-06T09:41:04.240" v="211862"/>
          <ac:spMkLst>
            <pc:docMk/>
            <pc:sldMk cId="3686276671" sldId="2147481935"/>
            <ac:spMk id="4" creationId="{D6D01AAF-6D8E-7132-9D26-C190B28AD55F}"/>
          </ac:spMkLst>
        </pc:spChg>
        <pc:spChg chg="add mod">
          <ac:chgData name="Yiqun Dai" userId="360a2182-b97f-4635-b990-04f846616e33" providerId="ADAL" clId="{8F04EA49-0EFC-48F3-A4D8-E0F0D3B461A8}" dt="2025-11-06T09:41:04.251" v="211871"/>
          <ac:spMkLst>
            <pc:docMk/>
            <pc:sldMk cId="3686276671" sldId="2147481935"/>
            <ac:spMk id="5" creationId="{802F7274-5954-7104-7ED3-0307B1A25ACD}"/>
          </ac:spMkLst>
        </pc:spChg>
        <pc:spChg chg="add mod">
          <ac:chgData name="Yiqun Dai" userId="360a2182-b97f-4635-b990-04f846616e33" providerId="ADAL" clId="{8F04EA49-0EFC-48F3-A4D8-E0F0D3B461A8}" dt="2025-11-06T09:41:04.240" v="211864"/>
          <ac:spMkLst>
            <pc:docMk/>
            <pc:sldMk cId="3686276671" sldId="2147481935"/>
            <ac:spMk id="6" creationId="{88278491-5B37-4D80-9C24-C0EF40F19F2A}"/>
          </ac:spMkLst>
        </pc:spChg>
        <pc:spChg chg="add mod">
          <ac:chgData name="Yiqun Dai" userId="360a2182-b97f-4635-b990-04f846616e33" providerId="ADAL" clId="{8F04EA49-0EFC-48F3-A4D8-E0F0D3B461A8}" dt="2025-11-06T09:41:04.240" v="211866"/>
          <ac:spMkLst>
            <pc:docMk/>
            <pc:sldMk cId="3686276671" sldId="2147481935"/>
            <ac:spMk id="7" creationId="{BCD64E76-2DC5-A0B5-6283-F0A83F0DDF92}"/>
          </ac:spMkLst>
        </pc:spChg>
        <pc:spChg chg="add mod">
          <ac:chgData name="Yiqun Dai" userId="360a2182-b97f-4635-b990-04f846616e33" providerId="ADAL" clId="{8F04EA49-0EFC-48F3-A4D8-E0F0D3B461A8}" dt="2025-11-06T09:41:04.251" v="211874"/>
          <ac:spMkLst>
            <pc:docMk/>
            <pc:sldMk cId="3686276671" sldId="2147481935"/>
            <ac:spMk id="12" creationId="{ACD878F8-3CB4-29E6-B884-A9F7A03FC6B1}"/>
          </ac:spMkLst>
        </pc:spChg>
        <pc:spChg chg="add mod">
          <ac:chgData name="Yiqun Dai" userId="360a2182-b97f-4635-b990-04f846616e33" providerId="ADAL" clId="{8F04EA49-0EFC-48F3-A4D8-E0F0D3B461A8}" dt="2025-11-06T09:41:04.251" v="211878"/>
          <ac:spMkLst>
            <pc:docMk/>
            <pc:sldMk cId="3686276671" sldId="2147481935"/>
            <ac:spMk id="13" creationId="{85C416CB-5F7E-F1E2-F920-DD765E842F95}"/>
          </ac:spMkLst>
        </pc:spChg>
        <pc:spChg chg="add mod">
          <ac:chgData name="Yiqun Dai" userId="360a2182-b97f-4635-b990-04f846616e33" providerId="ADAL" clId="{8F04EA49-0EFC-48F3-A4D8-E0F0D3B461A8}" dt="2025-11-06T09:41:04.251" v="211883"/>
          <ac:spMkLst>
            <pc:docMk/>
            <pc:sldMk cId="3686276671" sldId="2147481935"/>
            <ac:spMk id="14" creationId="{954E1A72-3970-D613-1ABE-7F609E8ACC4D}"/>
          </ac:spMkLst>
        </pc:spChg>
        <pc:spChg chg="add mod">
          <ac:chgData name="Yiqun Dai" userId="360a2182-b97f-4635-b990-04f846616e33" providerId="ADAL" clId="{8F04EA49-0EFC-48F3-A4D8-E0F0D3B461A8}" dt="2025-11-06T09:41:04.236" v="211844"/>
          <ac:spMkLst>
            <pc:docMk/>
            <pc:sldMk cId="3686276671" sldId="2147481935"/>
            <ac:spMk id="15" creationId="{694088D1-A9F9-204F-7F99-5BBAE6ADBA29}"/>
          </ac:spMkLst>
        </pc:spChg>
        <pc:spChg chg="add mod">
          <ac:chgData name="Yiqun Dai" userId="360a2182-b97f-4635-b990-04f846616e33" providerId="ADAL" clId="{8F04EA49-0EFC-48F3-A4D8-E0F0D3B461A8}" dt="2025-11-06T09:41:04.251" v="211875"/>
          <ac:spMkLst>
            <pc:docMk/>
            <pc:sldMk cId="3686276671" sldId="2147481935"/>
            <ac:spMk id="16" creationId="{EDFF3E04-646E-9876-B57D-D70DC4DC2AC1}"/>
          </ac:spMkLst>
        </pc:spChg>
        <pc:spChg chg="add mod">
          <ac:chgData name="Yiqun Dai" userId="360a2182-b97f-4635-b990-04f846616e33" providerId="ADAL" clId="{8F04EA49-0EFC-48F3-A4D8-E0F0D3B461A8}" dt="2025-11-06T09:41:04.236" v="211848"/>
          <ac:spMkLst>
            <pc:docMk/>
            <pc:sldMk cId="3686276671" sldId="2147481935"/>
            <ac:spMk id="17" creationId="{EED4E39C-6809-37EB-6C58-B9900263FDF2}"/>
          </ac:spMkLst>
        </pc:spChg>
        <pc:spChg chg="add mod">
          <ac:chgData name="Yiqun Dai" userId="360a2182-b97f-4635-b990-04f846616e33" providerId="ADAL" clId="{8F04EA49-0EFC-48F3-A4D8-E0F0D3B461A8}" dt="2025-11-06T09:41:04.240" v="211851"/>
          <ac:spMkLst>
            <pc:docMk/>
            <pc:sldMk cId="3686276671" sldId="2147481935"/>
            <ac:spMk id="18" creationId="{BCA30A7E-AADF-1E96-E9E9-6A99419D3084}"/>
          </ac:spMkLst>
        </pc:spChg>
        <pc:spChg chg="add mod">
          <ac:chgData name="Yiqun Dai" userId="360a2182-b97f-4635-b990-04f846616e33" providerId="ADAL" clId="{8F04EA49-0EFC-48F3-A4D8-E0F0D3B461A8}" dt="2025-11-06T09:41:04.240" v="211861"/>
          <ac:spMkLst>
            <pc:docMk/>
            <pc:sldMk cId="3686276671" sldId="2147481935"/>
            <ac:spMk id="19" creationId="{0BB315B8-6FC5-256F-F590-7266A31874A5}"/>
          </ac:spMkLst>
        </pc:spChg>
        <pc:spChg chg="add mod">
          <ac:chgData name="Yiqun Dai" userId="360a2182-b97f-4635-b990-04f846616e33" providerId="ADAL" clId="{8F04EA49-0EFC-48F3-A4D8-E0F0D3B461A8}" dt="2025-11-06T09:41:04.240" v="211856"/>
          <ac:spMkLst>
            <pc:docMk/>
            <pc:sldMk cId="3686276671" sldId="2147481935"/>
            <ac:spMk id="20" creationId="{27BC8CE3-355B-2AAF-7DD8-C2A313E4B845}"/>
          </ac:spMkLst>
        </pc:spChg>
        <pc:spChg chg="add mod">
          <ac:chgData name="Yiqun Dai" userId="360a2182-b97f-4635-b990-04f846616e33" providerId="ADAL" clId="{8F04EA49-0EFC-48F3-A4D8-E0F0D3B461A8}" dt="2025-11-06T09:41:04.240" v="211859"/>
          <ac:spMkLst>
            <pc:docMk/>
            <pc:sldMk cId="3686276671" sldId="2147481935"/>
            <ac:spMk id="21" creationId="{2934348B-7DF6-B39F-E353-4627F274F0A4}"/>
          </ac:spMkLst>
        </pc:spChg>
        <pc:spChg chg="add mod">
          <ac:chgData name="Yiqun Dai" userId="360a2182-b97f-4635-b990-04f846616e33" providerId="ADAL" clId="{8F04EA49-0EFC-48F3-A4D8-E0F0D3B461A8}" dt="2025-11-06T09:41:04.240" v="211860"/>
          <ac:spMkLst>
            <pc:docMk/>
            <pc:sldMk cId="3686276671" sldId="2147481935"/>
            <ac:spMk id="22" creationId="{0E1D8E54-85B5-95FA-B7A7-FC3DA9B4E943}"/>
          </ac:spMkLst>
        </pc:spChg>
        <pc:spChg chg="add mod ord">
          <ac:chgData name="Yiqun Dai" userId="360a2182-b97f-4635-b990-04f846616e33" providerId="ADAL" clId="{8F04EA49-0EFC-48F3-A4D8-E0F0D3B461A8}" dt="2025-11-06T09:41:04.251" v="211873"/>
          <ac:spMkLst>
            <pc:docMk/>
            <pc:sldMk cId="3686276671" sldId="2147481935"/>
            <ac:spMk id="33" creationId="{7DC94E67-346E-31AC-62D8-6F0C7314FA3F}"/>
          </ac:spMkLst>
        </pc:spChg>
        <pc:spChg chg="add mod ord">
          <ac:chgData name="Yiqun Dai" userId="360a2182-b97f-4635-b990-04f846616e33" providerId="ADAL" clId="{8F04EA49-0EFC-48F3-A4D8-E0F0D3B461A8}" dt="2025-11-06T09:41:04.251" v="211880"/>
          <ac:spMkLst>
            <pc:docMk/>
            <pc:sldMk cId="3686276671" sldId="2147481935"/>
            <ac:spMk id="34" creationId="{7810DE28-8088-3B27-7541-4204BCAB17F7}"/>
          </ac:spMkLst>
        </pc:spChg>
        <pc:spChg chg="add mod ord">
          <ac:chgData name="Yiqun Dai" userId="360a2182-b97f-4635-b990-04f846616e33" providerId="ADAL" clId="{8F04EA49-0EFC-48F3-A4D8-E0F0D3B461A8}" dt="2025-11-06T09:41:04.236" v="211846"/>
          <ac:spMkLst>
            <pc:docMk/>
            <pc:sldMk cId="3686276671" sldId="2147481935"/>
            <ac:spMk id="35" creationId="{388ECE33-AFE1-3699-2522-E2FBEC1E0AF6}"/>
          </ac:spMkLst>
        </pc:spChg>
        <pc:spChg chg="add mod ord">
          <ac:chgData name="Yiqun Dai" userId="360a2182-b97f-4635-b990-04f846616e33" providerId="ADAL" clId="{8F04EA49-0EFC-48F3-A4D8-E0F0D3B461A8}" dt="2025-11-06T09:41:04.236" v="211847"/>
          <ac:spMkLst>
            <pc:docMk/>
            <pc:sldMk cId="3686276671" sldId="2147481935"/>
            <ac:spMk id="36" creationId="{AAE46AC2-2296-FB9E-2A80-FBC2A14D05EF}"/>
          </ac:spMkLst>
        </pc:spChg>
        <pc:spChg chg="add mod ord">
          <ac:chgData name="Yiqun Dai" userId="360a2182-b97f-4635-b990-04f846616e33" providerId="ADAL" clId="{8F04EA49-0EFC-48F3-A4D8-E0F0D3B461A8}" dt="2025-11-06T09:41:04.236" v="211850"/>
          <ac:spMkLst>
            <pc:docMk/>
            <pc:sldMk cId="3686276671" sldId="2147481935"/>
            <ac:spMk id="50" creationId="{2E9B96A2-A425-18B3-1E20-7BEC4A1AF4C2}"/>
          </ac:spMkLst>
        </pc:spChg>
        <pc:spChg chg="add mod ord">
          <ac:chgData name="Yiqun Dai" userId="360a2182-b97f-4635-b990-04f846616e33" providerId="ADAL" clId="{8F04EA49-0EFC-48F3-A4D8-E0F0D3B461A8}" dt="2025-11-06T09:41:04.240" v="211852"/>
          <ac:spMkLst>
            <pc:docMk/>
            <pc:sldMk cId="3686276671" sldId="2147481935"/>
            <ac:spMk id="51" creationId="{669BA855-E23A-5BB8-5D43-41D3641770A3}"/>
          </ac:spMkLst>
        </pc:spChg>
        <pc:spChg chg="add mod ord">
          <ac:chgData name="Yiqun Dai" userId="360a2182-b97f-4635-b990-04f846616e33" providerId="ADAL" clId="{8F04EA49-0EFC-48F3-A4D8-E0F0D3B461A8}" dt="2025-11-06T09:41:04.251" v="211877"/>
          <ac:spMkLst>
            <pc:docMk/>
            <pc:sldMk cId="3686276671" sldId="2147481935"/>
            <ac:spMk id="52" creationId="{654C4289-2782-9191-0F3B-66F6A5E1E887}"/>
          </ac:spMkLst>
        </pc:spChg>
        <pc:spChg chg="add mod ord">
          <ac:chgData name="Yiqun Dai" userId="360a2182-b97f-4635-b990-04f846616e33" providerId="ADAL" clId="{8F04EA49-0EFC-48F3-A4D8-E0F0D3B461A8}" dt="2025-11-06T09:41:04.240" v="211855"/>
          <ac:spMkLst>
            <pc:docMk/>
            <pc:sldMk cId="3686276671" sldId="2147481935"/>
            <ac:spMk id="54" creationId="{86AD5039-7B40-87A7-2C4C-C38E98A57D84}"/>
          </ac:spMkLst>
        </pc:spChg>
        <pc:spChg chg="add mod ord">
          <ac:chgData name="Yiqun Dai" userId="360a2182-b97f-4635-b990-04f846616e33" providerId="ADAL" clId="{8F04EA49-0EFC-48F3-A4D8-E0F0D3B461A8}" dt="2025-11-06T09:41:04.240" v="211858"/>
          <ac:spMkLst>
            <pc:docMk/>
            <pc:sldMk cId="3686276671" sldId="2147481935"/>
            <ac:spMk id="55" creationId="{A13E476B-F12C-EE1E-0ADC-4EC55FD6F5C7}"/>
          </ac:spMkLst>
        </pc:spChg>
        <pc:spChg chg="add mod">
          <ac:chgData name="Yiqun Dai" userId="360a2182-b97f-4635-b990-04f846616e33" providerId="ADAL" clId="{8F04EA49-0EFC-48F3-A4D8-E0F0D3B461A8}" dt="2025-11-06T09:41:04.251" v="211881"/>
          <ac:spMkLst>
            <pc:docMk/>
            <pc:sldMk cId="3686276671" sldId="2147481935"/>
            <ac:spMk id="73" creationId="{483789DC-A167-CA55-00A7-A61DA216B3EC}"/>
          </ac:spMkLst>
        </pc:spChg>
        <pc:spChg chg="add mod ord">
          <ac:chgData name="Yiqun Dai" userId="360a2182-b97f-4635-b990-04f846616e33" providerId="ADAL" clId="{8F04EA49-0EFC-48F3-A4D8-E0F0D3B461A8}" dt="2025-11-06T09:41:04.240" v="211863"/>
          <ac:spMkLst>
            <pc:docMk/>
            <pc:sldMk cId="3686276671" sldId="2147481935"/>
            <ac:spMk id="77" creationId="{5F51C474-FC4A-CB2B-81A0-2361479586A6}"/>
          </ac:spMkLst>
        </pc:spChg>
        <pc:spChg chg="add mod ord">
          <ac:chgData name="Yiqun Dai" userId="360a2182-b97f-4635-b990-04f846616e33" providerId="ADAL" clId="{8F04EA49-0EFC-48F3-A4D8-E0F0D3B461A8}" dt="2025-11-06T09:41:04.240" v="211865"/>
          <ac:spMkLst>
            <pc:docMk/>
            <pc:sldMk cId="3686276671" sldId="2147481935"/>
            <ac:spMk id="78" creationId="{EAEC9EA8-FFDC-EFC9-24CB-BBCCF5654D42}"/>
          </ac:spMkLst>
        </pc:spChg>
        <pc:spChg chg="add mod ord">
          <ac:chgData name="Yiqun Dai" userId="360a2182-b97f-4635-b990-04f846616e33" providerId="ADAL" clId="{8F04EA49-0EFC-48F3-A4D8-E0F0D3B461A8}" dt="2025-11-06T09:41:04.240" v="211868"/>
          <ac:spMkLst>
            <pc:docMk/>
            <pc:sldMk cId="3686276671" sldId="2147481935"/>
            <ac:spMk id="79" creationId="{D2DC0E44-A3A9-AC35-D89B-E6C4CEC8C990}"/>
          </ac:spMkLst>
        </pc:spChg>
        <pc:spChg chg="add mod ord">
          <ac:chgData name="Yiqun Dai" userId="360a2182-b97f-4635-b990-04f846616e33" providerId="ADAL" clId="{8F04EA49-0EFC-48F3-A4D8-E0F0D3B461A8}" dt="2025-11-06T09:41:04.240" v="211870"/>
          <ac:spMkLst>
            <pc:docMk/>
            <pc:sldMk cId="3686276671" sldId="2147481935"/>
            <ac:spMk id="80" creationId="{1E42E93E-736F-9049-8290-B8F5BE4AD143}"/>
          </ac:spMkLst>
        </pc:spChg>
        <pc:spChg chg="add mod ord">
          <ac:chgData name="Yiqun Dai" userId="360a2182-b97f-4635-b990-04f846616e33" providerId="ADAL" clId="{8F04EA49-0EFC-48F3-A4D8-E0F0D3B461A8}" dt="2025-11-06T09:41:04.236" v="211843"/>
          <ac:spMkLst>
            <pc:docMk/>
            <pc:sldMk cId="3686276671" sldId="2147481935"/>
            <ac:spMk id="82" creationId="{43BBDE7D-080B-328D-F0DC-DCB7C0AD1BBC}"/>
          </ac:spMkLst>
        </pc:spChg>
        <pc:spChg chg="add mod">
          <ac:chgData name="Yiqun Dai" userId="360a2182-b97f-4635-b990-04f846616e33" providerId="ADAL" clId="{8F04EA49-0EFC-48F3-A4D8-E0F0D3B461A8}" dt="2025-11-06T09:41:04.251" v="211882"/>
          <ac:spMkLst>
            <pc:docMk/>
            <pc:sldMk cId="3686276671" sldId="2147481935"/>
            <ac:spMk id="89" creationId="{98DF5DE4-1650-E9F4-9C78-C86933682143}"/>
          </ac:spMkLst>
        </pc:spChg>
        <pc:spChg chg="add mod ord">
          <ac:chgData name="Yiqun Dai" userId="360a2182-b97f-4635-b990-04f846616e33" providerId="ADAL" clId="{8F04EA49-0EFC-48F3-A4D8-E0F0D3B461A8}" dt="2025-11-06T09:41:04.251" v="211887"/>
          <ac:spMkLst>
            <pc:docMk/>
            <pc:sldMk cId="3686276671" sldId="2147481935"/>
            <ac:spMk id="156" creationId="{6A90D04E-AFF0-A530-4C42-7FE457531D14}"/>
          </ac:spMkLst>
        </pc:spChg>
        <pc:graphicFrameChg chg="add mod ord modVis">
          <ac:chgData name="Yiqun Dai" userId="360a2182-b97f-4635-b990-04f846616e33" providerId="ADAL" clId="{8F04EA49-0EFC-48F3-A4D8-E0F0D3B461A8}" dt="2025-11-06T09:56:16.581" v="216609"/>
          <ac:graphicFrameMkLst>
            <pc:docMk/>
            <pc:sldMk cId="3686276671" sldId="2147481935"/>
            <ac:graphicFrameMk id="11" creationId="{641BBF53-6821-87F8-C638-20E9CA2440B8}"/>
          </ac:graphicFrameMkLst>
        </pc:graphicFrameChg>
        <pc:graphicFrameChg chg="add mod ord">
          <ac:chgData name="Yiqun Dai" userId="360a2182-b97f-4635-b990-04f846616e33" providerId="ADAL" clId="{8F04EA49-0EFC-48F3-A4D8-E0F0D3B461A8}" dt="2025-11-06T09:41:04.235" v="211841"/>
          <ac:graphicFrameMkLst>
            <pc:docMk/>
            <pc:sldMk cId="3686276671" sldId="2147481935"/>
            <ac:graphicFrameMk id="107" creationId="{585745C6-5FD4-9DA4-0417-B13F19AA3AD8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1-06T09:48:14.984" v="211897"/>
          <ac:graphicFrameMkLst>
            <pc:docMk/>
            <pc:sldMk cId="3686276671" sldId="2147481935"/>
            <ac:graphicFrameMk id="150" creationId="{536AA08A-F01E-75E3-80BE-231F14381C71}"/>
          </ac:graphicFrameMkLst>
        </pc:graphicFrameChg>
        <pc:cxnChg chg="add mod ord">
          <ac:chgData name="Yiqun Dai" userId="360a2182-b97f-4635-b990-04f846616e33" providerId="ADAL" clId="{8F04EA49-0EFC-48F3-A4D8-E0F0D3B461A8}" dt="2025-11-06T09:41:04.221" v="211813"/>
          <ac:cxnSpMkLst>
            <pc:docMk/>
            <pc:sldMk cId="3686276671" sldId="2147481935"/>
            <ac:cxnSpMk id="8" creationId="{682E05BD-C0DD-0BB1-BAE5-4BF06AC1BCCD}"/>
          </ac:cxnSpMkLst>
        </pc:cxnChg>
        <pc:cxnChg chg="add mod ord">
          <ac:chgData name="Yiqun Dai" userId="360a2182-b97f-4635-b990-04f846616e33" providerId="ADAL" clId="{8F04EA49-0EFC-48F3-A4D8-E0F0D3B461A8}" dt="2025-11-06T09:41:04.221" v="211815"/>
          <ac:cxnSpMkLst>
            <pc:docMk/>
            <pc:sldMk cId="3686276671" sldId="2147481935"/>
            <ac:cxnSpMk id="9" creationId="{FBC43A04-1111-A5DD-160E-982FB399D77B}"/>
          </ac:cxnSpMkLst>
        </pc:cxnChg>
        <pc:cxnChg chg="add mod ord">
          <ac:chgData name="Yiqun Dai" userId="360a2182-b97f-4635-b990-04f846616e33" providerId="ADAL" clId="{8F04EA49-0EFC-48F3-A4D8-E0F0D3B461A8}" dt="2025-11-06T09:41:04.221" v="211817"/>
          <ac:cxnSpMkLst>
            <pc:docMk/>
            <pc:sldMk cId="3686276671" sldId="2147481935"/>
            <ac:cxnSpMk id="37" creationId="{E31E111A-8741-939C-9453-657B7F8EB850}"/>
          </ac:cxnSpMkLst>
        </pc:cxnChg>
        <pc:cxnChg chg="add mod ord">
          <ac:chgData name="Yiqun Dai" userId="360a2182-b97f-4635-b990-04f846616e33" providerId="ADAL" clId="{8F04EA49-0EFC-48F3-A4D8-E0F0D3B461A8}" dt="2025-11-06T09:41:04.221" v="211819"/>
          <ac:cxnSpMkLst>
            <pc:docMk/>
            <pc:sldMk cId="3686276671" sldId="2147481935"/>
            <ac:cxnSpMk id="38" creationId="{C3A9570C-E34E-5562-413D-1029E9DBFD69}"/>
          </ac:cxnSpMkLst>
        </pc:cxnChg>
        <pc:cxnChg chg="add mod ord">
          <ac:chgData name="Yiqun Dai" userId="360a2182-b97f-4635-b990-04f846616e33" providerId="ADAL" clId="{8F04EA49-0EFC-48F3-A4D8-E0F0D3B461A8}" dt="2025-11-06T09:41:04.221" v="211821"/>
          <ac:cxnSpMkLst>
            <pc:docMk/>
            <pc:sldMk cId="3686276671" sldId="2147481935"/>
            <ac:cxnSpMk id="39" creationId="{C965C546-ABFE-7774-C63F-3FF1E3FD3324}"/>
          </ac:cxnSpMkLst>
        </pc:cxnChg>
        <pc:cxnChg chg="add mod ord">
          <ac:chgData name="Yiqun Dai" userId="360a2182-b97f-4635-b990-04f846616e33" providerId="ADAL" clId="{8F04EA49-0EFC-48F3-A4D8-E0F0D3B461A8}" dt="2025-11-06T09:41:04.221" v="211823"/>
          <ac:cxnSpMkLst>
            <pc:docMk/>
            <pc:sldMk cId="3686276671" sldId="2147481935"/>
            <ac:cxnSpMk id="40" creationId="{5F845711-8F8B-586E-ED39-0DCF88A6BA61}"/>
          </ac:cxnSpMkLst>
        </pc:cxnChg>
        <pc:cxnChg chg="add mod ord">
          <ac:chgData name="Yiqun Dai" userId="360a2182-b97f-4635-b990-04f846616e33" providerId="ADAL" clId="{8F04EA49-0EFC-48F3-A4D8-E0F0D3B461A8}" dt="2025-11-06T09:41:04.221" v="211825"/>
          <ac:cxnSpMkLst>
            <pc:docMk/>
            <pc:sldMk cId="3686276671" sldId="2147481935"/>
            <ac:cxnSpMk id="41" creationId="{FD04714B-84BF-846B-016B-902763B19A85}"/>
          </ac:cxnSpMkLst>
        </pc:cxnChg>
        <pc:cxnChg chg="add mod ord">
          <ac:chgData name="Yiqun Dai" userId="360a2182-b97f-4635-b990-04f846616e33" providerId="ADAL" clId="{8F04EA49-0EFC-48F3-A4D8-E0F0D3B461A8}" dt="2025-11-06T09:41:04.221" v="211827"/>
          <ac:cxnSpMkLst>
            <pc:docMk/>
            <pc:sldMk cId="3686276671" sldId="2147481935"/>
            <ac:cxnSpMk id="42" creationId="{6FF4CE60-27EE-6F7D-7AAE-BD745A175393}"/>
          </ac:cxnSpMkLst>
        </pc:cxnChg>
        <pc:cxnChg chg="add mod ord">
          <ac:chgData name="Yiqun Dai" userId="360a2182-b97f-4635-b990-04f846616e33" providerId="ADAL" clId="{8F04EA49-0EFC-48F3-A4D8-E0F0D3B461A8}" dt="2025-11-06T09:41:04.221" v="211829"/>
          <ac:cxnSpMkLst>
            <pc:docMk/>
            <pc:sldMk cId="3686276671" sldId="2147481935"/>
            <ac:cxnSpMk id="43" creationId="{5CE318FF-429B-B32E-87E2-DEC4B6BA389E}"/>
          </ac:cxnSpMkLst>
        </pc:cxnChg>
        <pc:cxnChg chg="add mod ord">
          <ac:chgData name="Yiqun Dai" userId="360a2182-b97f-4635-b990-04f846616e33" providerId="ADAL" clId="{8F04EA49-0EFC-48F3-A4D8-E0F0D3B461A8}" dt="2025-11-06T09:41:04.221" v="211831"/>
          <ac:cxnSpMkLst>
            <pc:docMk/>
            <pc:sldMk cId="3686276671" sldId="2147481935"/>
            <ac:cxnSpMk id="44" creationId="{18314241-E1F1-0AE7-C24E-CCDEDE6BE0AA}"/>
          </ac:cxnSpMkLst>
        </pc:cxnChg>
        <pc:cxnChg chg="add mod ord">
          <ac:chgData name="Yiqun Dai" userId="360a2182-b97f-4635-b990-04f846616e33" providerId="ADAL" clId="{8F04EA49-0EFC-48F3-A4D8-E0F0D3B461A8}" dt="2025-11-06T09:41:04.221" v="211833"/>
          <ac:cxnSpMkLst>
            <pc:docMk/>
            <pc:sldMk cId="3686276671" sldId="2147481935"/>
            <ac:cxnSpMk id="45" creationId="{7F4EE3E8-EE87-F538-289C-5E8D768E0018}"/>
          </ac:cxnSpMkLst>
        </pc:cxnChg>
        <pc:cxnChg chg="add mod ord">
          <ac:chgData name="Yiqun Dai" userId="360a2182-b97f-4635-b990-04f846616e33" providerId="ADAL" clId="{8F04EA49-0EFC-48F3-A4D8-E0F0D3B461A8}" dt="2025-11-06T09:41:04.221" v="211811"/>
          <ac:cxnSpMkLst>
            <pc:docMk/>
            <pc:sldMk cId="3686276671" sldId="2147481935"/>
            <ac:cxnSpMk id="46" creationId="{683830DE-EACC-FB5A-4393-56B7300839B6}"/>
          </ac:cxnSpMkLst>
        </pc:cxnChg>
        <pc:cxnChg chg="add mod ord">
          <ac:chgData name="Yiqun Dai" userId="360a2182-b97f-4635-b990-04f846616e33" providerId="ADAL" clId="{8F04EA49-0EFC-48F3-A4D8-E0F0D3B461A8}" dt="2025-11-06T09:41:04.221" v="211835"/>
          <ac:cxnSpMkLst>
            <pc:docMk/>
            <pc:sldMk cId="3686276671" sldId="2147481935"/>
            <ac:cxnSpMk id="47" creationId="{6CE8E4A5-3FA5-59E4-D363-B3C8C48B0933}"/>
          </ac:cxnSpMkLst>
        </pc:cxnChg>
        <pc:cxnChg chg="add mod ord">
          <ac:chgData name="Yiqun Dai" userId="360a2182-b97f-4635-b990-04f846616e33" providerId="ADAL" clId="{8F04EA49-0EFC-48F3-A4D8-E0F0D3B461A8}" dt="2025-11-06T09:41:04.221" v="211837"/>
          <ac:cxnSpMkLst>
            <pc:docMk/>
            <pc:sldMk cId="3686276671" sldId="2147481935"/>
            <ac:cxnSpMk id="48" creationId="{E3F2FA70-5DF5-58AC-9F3B-CC113ED715DA}"/>
          </ac:cxnSpMkLst>
        </pc:cxnChg>
        <pc:cxnChg chg="add mod ord">
          <ac:chgData name="Yiqun Dai" userId="360a2182-b97f-4635-b990-04f846616e33" providerId="ADAL" clId="{8F04EA49-0EFC-48F3-A4D8-E0F0D3B461A8}" dt="2025-11-06T09:41:04.221" v="211839"/>
          <ac:cxnSpMkLst>
            <pc:docMk/>
            <pc:sldMk cId="3686276671" sldId="2147481935"/>
            <ac:cxnSpMk id="49" creationId="{F99CFA1A-CB5F-F34F-EEEA-0C582B01987D}"/>
          </ac:cxnSpMkLst>
        </pc:cxnChg>
      </pc:sldChg>
      <pc:sldChg chg="addSp delSp modSp new del mod ord">
        <pc:chgData name="Yiqun Dai" userId="360a2182-b97f-4635-b990-04f846616e33" providerId="ADAL" clId="{8F04EA49-0EFC-48F3-A4D8-E0F0D3B461A8}" dt="2025-11-10T02:46:26.477" v="282994" actId="47"/>
        <pc:sldMkLst>
          <pc:docMk/>
          <pc:sldMk cId="2005519605" sldId="2147481936"/>
        </pc:sldMkLst>
        <pc:spChg chg="mod ord">
          <ac:chgData name="Yiqun Dai" userId="360a2182-b97f-4635-b990-04f846616e33" providerId="ADAL" clId="{8F04EA49-0EFC-48F3-A4D8-E0F0D3B461A8}" dt="2025-10-25T08:57:44.761" v="182997" actId="948"/>
          <ac:spMkLst>
            <pc:docMk/>
            <pc:sldMk cId="2005519605" sldId="2147481936"/>
            <ac:spMk id="2" creationId="{C0AA50CA-5DA0-1BA5-415A-FA740C68445D}"/>
          </ac:spMkLst>
        </pc:spChg>
        <pc:spChg chg="add mod ord">
          <ac:chgData name="Yiqun Dai" userId="360a2182-b97f-4635-b990-04f846616e33" providerId="ADAL" clId="{8F04EA49-0EFC-48F3-A4D8-E0F0D3B461A8}" dt="2025-10-25T08:52:51.016" v="182673"/>
          <ac:spMkLst>
            <pc:docMk/>
            <pc:sldMk cId="2005519605" sldId="2147481936"/>
            <ac:spMk id="22" creationId="{CB2FCE00-1700-5CE5-7C31-0F764227013D}"/>
          </ac:spMkLst>
        </pc:spChg>
        <pc:spChg chg="add mod ord">
          <ac:chgData name="Yiqun Dai" userId="360a2182-b97f-4635-b990-04f846616e33" providerId="ADAL" clId="{8F04EA49-0EFC-48F3-A4D8-E0F0D3B461A8}" dt="2025-10-25T08:52:55.780" v="182688" actId="14100"/>
          <ac:spMkLst>
            <pc:docMk/>
            <pc:sldMk cId="2005519605" sldId="2147481936"/>
            <ac:spMk id="23" creationId="{D68AA81D-64C1-710F-57A5-5C9F17D90341}"/>
          </ac:spMkLst>
        </pc:spChg>
        <pc:spChg chg="add mod">
          <ac:chgData name="Yiqun Dai" userId="360a2182-b97f-4635-b990-04f846616e33" providerId="ADAL" clId="{8F04EA49-0EFC-48F3-A4D8-E0F0D3B461A8}" dt="2025-10-25T08:55:26.598" v="182757" actId="207"/>
          <ac:spMkLst>
            <pc:docMk/>
            <pc:sldMk cId="2005519605" sldId="2147481936"/>
            <ac:spMk id="25" creationId="{D1A546F5-363E-3E59-6053-1D1D8F12F9FE}"/>
          </ac:spMkLst>
        </pc:spChg>
        <pc:spChg chg="add mod">
          <ac:chgData name="Yiqun Dai" userId="360a2182-b97f-4635-b990-04f846616e33" providerId="ADAL" clId="{8F04EA49-0EFC-48F3-A4D8-E0F0D3B461A8}" dt="2025-10-25T08:53:25.501" v="182706"/>
          <ac:spMkLst>
            <pc:docMk/>
            <pc:sldMk cId="2005519605" sldId="2147481936"/>
            <ac:spMk id="26" creationId="{9AB3E8C0-609B-94A4-1069-9FB4157696FF}"/>
          </ac:spMkLst>
        </pc:spChg>
        <pc:spChg chg="add mod">
          <ac:chgData name="Yiqun Dai" userId="360a2182-b97f-4635-b990-04f846616e33" providerId="ADAL" clId="{8F04EA49-0EFC-48F3-A4D8-E0F0D3B461A8}" dt="2025-10-25T08:56:38.745" v="182831" actId="1036"/>
          <ac:spMkLst>
            <pc:docMk/>
            <pc:sldMk cId="2005519605" sldId="2147481936"/>
            <ac:spMk id="27" creationId="{BB5DBBD6-08A9-ABA4-CE09-C7E7727B0AED}"/>
          </ac:spMkLst>
        </pc:spChg>
        <pc:spChg chg="add mod">
          <ac:chgData name="Yiqun Dai" userId="360a2182-b97f-4635-b990-04f846616e33" providerId="ADAL" clId="{8F04EA49-0EFC-48F3-A4D8-E0F0D3B461A8}" dt="2025-10-25T08:56:38.745" v="182831" actId="1036"/>
          <ac:spMkLst>
            <pc:docMk/>
            <pc:sldMk cId="2005519605" sldId="2147481936"/>
            <ac:spMk id="28" creationId="{8B4EB9AE-F5B0-7637-B9AB-4AEFD1C5F2DC}"/>
          </ac:spMkLst>
        </pc:spChg>
        <pc:spChg chg="add mod">
          <ac:chgData name="Yiqun Dai" userId="360a2182-b97f-4635-b990-04f846616e33" providerId="ADAL" clId="{8F04EA49-0EFC-48F3-A4D8-E0F0D3B461A8}" dt="2025-10-25T08:56:38.745" v="182831" actId="1036"/>
          <ac:spMkLst>
            <pc:docMk/>
            <pc:sldMk cId="2005519605" sldId="2147481936"/>
            <ac:spMk id="29" creationId="{ECC3D5AD-5CEC-FDDC-8CB1-CA52D0712F65}"/>
          </ac:spMkLst>
        </pc:spChg>
        <pc:spChg chg="add mod">
          <ac:chgData name="Yiqun Dai" userId="360a2182-b97f-4635-b990-04f846616e33" providerId="ADAL" clId="{8F04EA49-0EFC-48F3-A4D8-E0F0D3B461A8}" dt="2025-10-25T08:56:06.025" v="182775" actId="14100"/>
          <ac:spMkLst>
            <pc:docMk/>
            <pc:sldMk cId="2005519605" sldId="2147481936"/>
            <ac:spMk id="30" creationId="{20DF93C6-6914-16D5-536A-5629B480C898}"/>
          </ac:spMkLst>
        </pc:spChg>
        <pc:graphicFrameChg chg="add mod ord">
          <ac:chgData name="Yiqun Dai" userId="360a2182-b97f-4635-b990-04f846616e33" providerId="ADAL" clId="{8F04EA49-0EFC-48F3-A4D8-E0F0D3B461A8}" dt="2025-10-25T08:56:38.745" v="182831" actId="1036"/>
          <ac:graphicFrameMkLst>
            <pc:docMk/>
            <pc:sldMk cId="2005519605" sldId="2147481936"/>
            <ac:graphicFrameMk id="11" creationId="{36FA381E-E577-ABC3-5EE9-85AE876ECFC9}"/>
          </ac:graphicFrameMkLst>
        </pc:graphicFrameChg>
        <pc:graphicFrameChg chg="add mod ord">
          <ac:chgData name="Yiqun Dai" userId="360a2182-b97f-4635-b990-04f846616e33" providerId="ADAL" clId="{8F04EA49-0EFC-48F3-A4D8-E0F0D3B461A8}" dt="2025-10-25T08:56:38.745" v="182831" actId="1036"/>
          <ac:graphicFrameMkLst>
            <pc:docMk/>
            <pc:sldMk cId="2005519605" sldId="2147481936"/>
            <ac:graphicFrameMk id="13" creationId="{75C5D472-92C4-DC32-57F6-6318A66A779E}"/>
          </ac:graphicFrameMkLst>
        </pc:graphicFrameChg>
        <pc:graphicFrameChg chg="add mod ord">
          <ac:chgData name="Yiqun Dai" userId="360a2182-b97f-4635-b990-04f846616e33" providerId="ADAL" clId="{8F04EA49-0EFC-48F3-A4D8-E0F0D3B461A8}" dt="2025-10-25T08:56:38.745" v="182831" actId="1036"/>
          <ac:graphicFrameMkLst>
            <pc:docMk/>
            <pc:sldMk cId="2005519605" sldId="2147481936"/>
            <ac:graphicFrameMk id="15" creationId="{4980D94D-25BA-A684-389D-CFAA007DC467}"/>
          </ac:graphicFrameMkLst>
        </pc:graphicFrameChg>
        <pc:graphicFrameChg chg="add mod ord">
          <ac:chgData name="Yiqun Dai" userId="360a2182-b97f-4635-b990-04f846616e33" providerId="ADAL" clId="{8F04EA49-0EFC-48F3-A4D8-E0F0D3B461A8}" dt="2025-10-25T08:56:29.533" v="182805" actId="1035"/>
          <ac:graphicFrameMkLst>
            <pc:docMk/>
            <pc:sldMk cId="2005519605" sldId="2147481936"/>
            <ac:graphicFrameMk id="17" creationId="{C7BDAD08-18E5-4655-20D6-F16C0470E03F}"/>
          </ac:graphicFrameMkLst>
        </pc:graphicFrameChg>
        <pc:graphicFrameChg chg="add mod ord">
          <ac:chgData name="Yiqun Dai" userId="360a2182-b97f-4635-b990-04f846616e33" providerId="ADAL" clId="{8F04EA49-0EFC-48F3-A4D8-E0F0D3B461A8}" dt="2025-10-25T08:56:29.533" v="182805" actId="1035"/>
          <ac:graphicFrameMkLst>
            <pc:docMk/>
            <pc:sldMk cId="2005519605" sldId="2147481936"/>
            <ac:graphicFrameMk id="19" creationId="{BAAB971A-5FCB-9422-B4FC-C771B14FF87B}"/>
          </ac:graphicFrameMkLst>
        </pc:graphicFrameChg>
        <pc:graphicFrameChg chg="add mod ord">
          <ac:chgData name="Yiqun Dai" userId="360a2182-b97f-4635-b990-04f846616e33" providerId="ADAL" clId="{8F04EA49-0EFC-48F3-A4D8-E0F0D3B461A8}" dt="2025-10-25T08:56:29.533" v="182805" actId="1035"/>
          <ac:graphicFrameMkLst>
            <pc:docMk/>
            <pc:sldMk cId="2005519605" sldId="2147481936"/>
            <ac:graphicFrameMk id="21" creationId="{048408B9-62A1-319E-4039-7865D636151D}"/>
          </ac:graphicFrameMkLst>
        </pc:graphicFrameChg>
        <pc:graphicFrameChg chg="add mod ord modVis">
          <ac:chgData name="Yiqun Dai" userId="360a2182-b97f-4635-b990-04f846616e33" providerId="ADAL" clId="{8F04EA49-0EFC-48F3-A4D8-E0F0D3B461A8}" dt="2025-10-25T08:57:44.761" v="182999"/>
          <ac:graphicFrameMkLst>
            <pc:docMk/>
            <pc:sldMk cId="2005519605" sldId="2147481936"/>
            <ac:graphicFrameMk id="24" creationId="{352A9997-4A21-B9C8-42DD-A6BD6FD8D1C0}"/>
          </ac:graphicFrameMkLst>
        </pc:graphicFrameChg>
      </pc:sldChg>
      <pc:sldChg chg="addSp delSp modSp new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2449204388" sldId="2147481938"/>
        </pc:sldMkLst>
        <pc:spChg chg="mod ord">
          <ac:chgData name="Yiqun Dai" userId="360a2182-b97f-4635-b990-04f846616e33" providerId="ADAL" clId="{8F04EA49-0EFC-48F3-A4D8-E0F0D3B461A8}" dt="2025-10-13T06:03:44.120" v="112437" actId="948"/>
          <ac:spMkLst>
            <pc:docMk/>
            <pc:sldMk cId="2449204388" sldId="2147481938"/>
            <ac:spMk id="2" creationId="{AE4B282F-8C97-A0F1-0A72-382B7A247B81}"/>
          </ac:spMkLst>
        </pc:spChg>
        <pc:spChg chg="mod ord">
          <ac:chgData name="Yiqun Dai" userId="360a2182-b97f-4635-b990-04f846616e33" providerId="ADAL" clId="{8F04EA49-0EFC-48F3-A4D8-E0F0D3B461A8}" dt="2025-10-12T09:35:06.965" v="111504"/>
          <ac:spMkLst>
            <pc:docMk/>
            <pc:sldMk cId="2449204388" sldId="2147481938"/>
            <ac:spMk id="9" creationId="{FD1E2517-CDC5-FB65-9096-B0057462B870}"/>
          </ac:spMkLst>
        </pc:spChg>
        <pc:spChg chg="mod ord">
          <ac:chgData name="Yiqun Dai" userId="360a2182-b97f-4635-b990-04f846616e33" providerId="ADAL" clId="{8F04EA49-0EFC-48F3-A4D8-E0F0D3B461A8}" dt="2025-10-12T09:35:06.965" v="111506"/>
          <ac:spMkLst>
            <pc:docMk/>
            <pc:sldMk cId="2449204388" sldId="2147481938"/>
            <ac:spMk id="10" creationId="{66B8844B-DAAA-C380-37F1-C3F7B12C1544}"/>
          </ac:spMkLst>
        </pc:spChg>
        <pc:spChg chg="mod">
          <ac:chgData name="Yiqun Dai" userId="360a2182-b97f-4635-b990-04f846616e33" providerId="ADAL" clId="{8F04EA49-0EFC-48F3-A4D8-E0F0D3B461A8}" dt="2025-10-12T09:35:06.965" v="111507"/>
          <ac:spMkLst>
            <pc:docMk/>
            <pc:sldMk cId="2449204388" sldId="2147481938"/>
            <ac:spMk id="11" creationId="{F1CEAA11-5FE1-F0CA-C884-DF3E59AFB8BA}"/>
          </ac:spMkLst>
        </pc:spChg>
        <pc:spChg chg="mod">
          <ac:chgData name="Yiqun Dai" userId="360a2182-b97f-4635-b990-04f846616e33" providerId="ADAL" clId="{8F04EA49-0EFC-48F3-A4D8-E0F0D3B461A8}" dt="2025-10-12T09:35:06.965" v="111513"/>
          <ac:spMkLst>
            <pc:docMk/>
            <pc:sldMk cId="2449204388" sldId="2147481938"/>
            <ac:spMk id="13" creationId="{1E9782C0-651A-125C-C6A1-7403ACAB2F02}"/>
          </ac:spMkLst>
        </pc:spChg>
        <pc:spChg chg="mod">
          <ac:chgData name="Yiqun Dai" userId="360a2182-b97f-4635-b990-04f846616e33" providerId="ADAL" clId="{8F04EA49-0EFC-48F3-A4D8-E0F0D3B461A8}" dt="2025-10-12T09:35:06.965" v="111514"/>
          <ac:spMkLst>
            <pc:docMk/>
            <pc:sldMk cId="2449204388" sldId="2147481938"/>
            <ac:spMk id="15" creationId="{BDEB3BA8-8E04-D7FC-26CE-1F0FCF2C4FE1}"/>
          </ac:spMkLst>
        </pc:spChg>
        <pc:spChg chg="mod ord">
          <ac:chgData name="Yiqun Dai" userId="360a2182-b97f-4635-b990-04f846616e33" providerId="ADAL" clId="{8F04EA49-0EFC-48F3-A4D8-E0F0D3B461A8}" dt="2025-10-12T09:35:06.965" v="111516"/>
          <ac:spMkLst>
            <pc:docMk/>
            <pc:sldMk cId="2449204388" sldId="2147481938"/>
            <ac:spMk id="16" creationId="{D8170232-5E74-00F0-0C56-76E1755436AD}"/>
          </ac:spMkLst>
        </pc:spChg>
        <pc:spChg chg="add mod">
          <ac:chgData name="Yiqun Dai" userId="360a2182-b97f-4635-b990-04f846616e33" providerId="ADAL" clId="{8F04EA49-0EFC-48F3-A4D8-E0F0D3B461A8}" dt="2025-10-12T09:35:06.965" v="111517"/>
          <ac:spMkLst>
            <pc:docMk/>
            <pc:sldMk cId="2449204388" sldId="2147481938"/>
            <ac:spMk id="17" creationId="{A439ADF6-B0B3-DE05-97DD-4038F9FD82A0}"/>
          </ac:spMkLst>
        </pc:spChg>
        <pc:spChg chg="add mod ord">
          <ac:chgData name="Yiqun Dai" userId="360a2182-b97f-4635-b990-04f846616e33" providerId="ADAL" clId="{8F04EA49-0EFC-48F3-A4D8-E0F0D3B461A8}" dt="2025-10-12T09:35:06.965" v="111519"/>
          <ac:spMkLst>
            <pc:docMk/>
            <pc:sldMk cId="2449204388" sldId="2147481938"/>
            <ac:spMk id="18" creationId="{E2AE0BDF-DA59-0084-4574-FD70E479FF35}"/>
          </ac:spMkLst>
        </pc:spChg>
        <pc:spChg chg="mod">
          <ac:chgData name="Yiqun Dai" userId="360a2182-b97f-4635-b990-04f846616e33" providerId="ADAL" clId="{8F04EA49-0EFC-48F3-A4D8-E0F0D3B461A8}" dt="2025-10-12T09:35:06.965" v="111527"/>
          <ac:spMkLst>
            <pc:docMk/>
            <pc:sldMk cId="2449204388" sldId="2147481938"/>
            <ac:spMk id="19" creationId="{F8EEF8BD-9C69-D470-B4FB-D3F7C0D5BDA9}"/>
          </ac:spMkLst>
        </pc:spChg>
        <pc:spChg chg="mod">
          <ac:chgData name="Yiqun Dai" userId="360a2182-b97f-4635-b990-04f846616e33" providerId="ADAL" clId="{8F04EA49-0EFC-48F3-A4D8-E0F0D3B461A8}" dt="2025-10-12T09:35:06.965" v="111528"/>
          <ac:spMkLst>
            <pc:docMk/>
            <pc:sldMk cId="2449204388" sldId="2147481938"/>
            <ac:spMk id="20" creationId="{888AD6AB-7F69-24A0-55C9-D5BA626EC022}"/>
          </ac:spMkLst>
        </pc:spChg>
        <pc:spChg chg="mod">
          <ac:chgData name="Yiqun Dai" userId="360a2182-b97f-4635-b990-04f846616e33" providerId="ADAL" clId="{8F04EA49-0EFC-48F3-A4D8-E0F0D3B461A8}" dt="2025-10-12T09:35:06.965" v="111529"/>
          <ac:spMkLst>
            <pc:docMk/>
            <pc:sldMk cId="2449204388" sldId="2147481938"/>
            <ac:spMk id="21" creationId="{82650531-0F4C-7A6A-F490-EAFE33A7BFCE}"/>
          </ac:spMkLst>
        </pc:spChg>
        <pc:spChg chg="mod ord">
          <ac:chgData name="Yiqun Dai" userId="360a2182-b97f-4635-b990-04f846616e33" providerId="ADAL" clId="{8F04EA49-0EFC-48F3-A4D8-E0F0D3B461A8}" dt="2025-10-12T09:35:06.965" v="111531"/>
          <ac:spMkLst>
            <pc:docMk/>
            <pc:sldMk cId="2449204388" sldId="2147481938"/>
            <ac:spMk id="22" creationId="{413B8A2B-BB09-E7ED-27BE-7E3054737686}"/>
          </ac:spMkLst>
        </pc:spChg>
        <pc:spChg chg="add mod">
          <ac:chgData name="Yiqun Dai" userId="360a2182-b97f-4635-b990-04f846616e33" providerId="ADAL" clId="{8F04EA49-0EFC-48F3-A4D8-E0F0D3B461A8}" dt="2025-10-12T09:35:06.965" v="111512"/>
          <ac:spMkLst>
            <pc:docMk/>
            <pc:sldMk cId="2449204388" sldId="2147481938"/>
            <ac:spMk id="46" creationId="{FF889C24-D515-6456-8D02-A88D2147ECD2}"/>
          </ac:spMkLst>
        </pc:spChg>
        <pc:spChg chg="add mod ord">
          <ac:chgData name="Yiqun Dai" userId="360a2182-b97f-4635-b990-04f846616e33" providerId="ADAL" clId="{8F04EA49-0EFC-48F3-A4D8-E0F0D3B461A8}" dt="2025-10-12T09:35:06.965" v="111511"/>
          <ac:spMkLst>
            <pc:docMk/>
            <pc:sldMk cId="2449204388" sldId="2147481938"/>
            <ac:spMk id="47" creationId="{535BB12C-8B36-3885-4111-11A4E6E7D3A5}"/>
          </ac:spMkLst>
        </pc:spChg>
        <pc:spChg chg="add mod ord">
          <ac:chgData name="Yiqun Dai" userId="360a2182-b97f-4635-b990-04f846616e33" providerId="ADAL" clId="{8F04EA49-0EFC-48F3-A4D8-E0F0D3B461A8}" dt="2025-10-12T09:35:06.965" v="111510"/>
          <ac:spMkLst>
            <pc:docMk/>
            <pc:sldMk cId="2449204388" sldId="2147481938"/>
            <ac:spMk id="48" creationId="{B5E34D0B-6FDA-4191-7B00-885CA6D240A8}"/>
          </ac:spMkLst>
        </pc:spChg>
        <pc:spChg chg="add mod">
          <ac:chgData name="Yiqun Dai" userId="360a2182-b97f-4635-b990-04f846616e33" providerId="ADAL" clId="{8F04EA49-0EFC-48F3-A4D8-E0F0D3B461A8}" dt="2025-10-12T09:35:06.965" v="111508"/>
          <ac:spMkLst>
            <pc:docMk/>
            <pc:sldMk cId="2449204388" sldId="2147481938"/>
            <ac:spMk id="49" creationId="{C95AE3BB-5EFF-67FC-88E1-E789BAFA4F2C}"/>
          </ac:spMkLst>
        </pc:spChg>
        <pc:spChg chg="add mod ord">
          <ac:chgData name="Yiqun Dai" userId="360a2182-b97f-4635-b990-04f846616e33" providerId="ADAL" clId="{8F04EA49-0EFC-48F3-A4D8-E0F0D3B461A8}" dt="2025-10-12T09:35:06.965" v="111526"/>
          <ac:spMkLst>
            <pc:docMk/>
            <pc:sldMk cId="2449204388" sldId="2147481938"/>
            <ac:spMk id="50" creationId="{4E5A2F2F-0C40-5A61-96BF-2FDCF5BCB61E}"/>
          </ac:spMkLst>
        </pc:spChg>
        <pc:spChg chg="add mod">
          <ac:chgData name="Yiqun Dai" userId="360a2182-b97f-4635-b990-04f846616e33" providerId="ADAL" clId="{8F04EA49-0EFC-48F3-A4D8-E0F0D3B461A8}" dt="2025-10-12T09:35:06.965" v="111524"/>
          <ac:spMkLst>
            <pc:docMk/>
            <pc:sldMk cId="2449204388" sldId="2147481938"/>
            <ac:spMk id="51" creationId="{55B83C17-01E8-AF86-3D1C-0FA8D2924C9F}"/>
          </ac:spMkLst>
        </pc:spChg>
        <pc:spChg chg="add mod">
          <ac:chgData name="Yiqun Dai" userId="360a2182-b97f-4635-b990-04f846616e33" providerId="ADAL" clId="{8F04EA49-0EFC-48F3-A4D8-E0F0D3B461A8}" dt="2025-10-12T09:35:06.965" v="111523"/>
          <ac:spMkLst>
            <pc:docMk/>
            <pc:sldMk cId="2449204388" sldId="2147481938"/>
            <ac:spMk id="52" creationId="{E7EF3255-3433-15CC-98B6-38D0C4AF9708}"/>
          </ac:spMkLst>
        </pc:spChg>
        <pc:spChg chg="add mod ord">
          <ac:chgData name="Yiqun Dai" userId="360a2182-b97f-4635-b990-04f846616e33" providerId="ADAL" clId="{8F04EA49-0EFC-48F3-A4D8-E0F0D3B461A8}" dt="2025-10-12T09:35:06.965" v="111522"/>
          <ac:spMkLst>
            <pc:docMk/>
            <pc:sldMk cId="2449204388" sldId="2147481938"/>
            <ac:spMk id="53" creationId="{17B0A435-B6A2-FF9B-E8CA-E60868906013}"/>
          </ac:spMkLst>
        </pc:spChg>
        <pc:spChg chg="add mod">
          <ac:chgData name="Yiqun Dai" userId="360a2182-b97f-4635-b990-04f846616e33" providerId="ADAL" clId="{8F04EA49-0EFC-48F3-A4D8-E0F0D3B461A8}" dt="2025-10-12T09:35:06.965" v="111520"/>
          <ac:spMkLst>
            <pc:docMk/>
            <pc:sldMk cId="2449204388" sldId="2147481938"/>
            <ac:spMk id="54" creationId="{EF642B58-E142-B9BA-DCC5-104C5660EF39}"/>
          </ac:spMkLst>
        </pc:spChg>
        <pc:spChg chg="add mod">
          <ac:chgData name="Yiqun Dai" userId="360a2182-b97f-4635-b990-04f846616e33" providerId="ADAL" clId="{8F04EA49-0EFC-48F3-A4D8-E0F0D3B461A8}" dt="2025-10-13T05:32:35.703" v="111913"/>
          <ac:spMkLst>
            <pc:docMk/>
            <pc:sldMk cId="2449204388" sldId="2147481938"/>
            <ac:spMk id="125" creationId="{8A86FAEA-8225-65EB-8B29-177DF2BD6116}"/>
          </ac:spMkLst>
        </pc:spChg>
        <pc:spChg chg="add mod">
          <ac:chgData name="Yiqun Dai" userId="360a2182-b97f-4635-b990-04f846616e33" providerId="ADAL" clId="{8F04EA49-0EFC-48F3-A4D8-E0F0D3B461A8}" dt="2025-10-13T05:32:35.675" v="111901"/>
          <ac:spMkLst>
            <pc:docMk/>
            <pc:sldMk cId="2449204388" sldId="2147481938"/>
            <ac:spMk id="127" creationId="{187A48DA-1451-1F3F-4BCB-B24493BB9F88}"/>
          </ac:spMkLst>
        </pc:spChg>
        <pc:spChg chg="add mod">
          <ac:chgData name="Yiqun Dai" userId="360a2182-b97f-4635-b990-04f846616e33" providerId="ADAL" clId="{8F04EA49-0EFC-48F3-A4D8-E0F0D3B461A8}" dt="2025-10-13T05:32:35.613" v="111880"/>
          <ac:spMkLst>
            <pc:docMk/>
            <pc:sldMk cId="2449204388" sldId="2147481938"/>
            <ac:spMk id="128" creationId="{64717456-7C60-BF82-ADB0-95A0E167E865}"/>
          </ac:spMkLst>
        </pc:spChg>
        <pc:spChg chg="add mod">
          <ac:chgData name="Yiqun Dai" userId="360a2182-b97f-4635-b990-04f846616e33" providerId="ADAL" clId="{8F04EA49-0EFC-48F3-A4D8-E0F0D3B461A8}" dt="2025-10-13T05:32:35.710" v="111916"/>
          <ac:spMkLst>
            <pc:docMk/>
            <pc:sldMk cId="2449204388" sldId="2147481938"/>
            <ac:spMk id="129" creationId="{5874A484-E094-918B-E7B3-AB91F3E0434A}"/>
          </ac:spMkLst>
        </pc:spChg>
        <pc:spChg chg="add mod">
          <ac:chgData name="Yiqun Dai" userId="360a2182-b97f-4635-b990-04f846616e33" providerId="ADAL" clId="{8F04EA49-0EFC-48F3-A4D8-E0F0D3B461A8}" dt="2025-10-13T05:32:35.690" v="111907"/>
          <ac:spMkLst>
            <pc:docMk/>
            <pc:sldMk cId="2449204388" sldId="2147481938"/>
            <ac:spMk id="130" creationId="{F0F6F929-2936-2882-DC53-D0C74EDCB62C}"/>
          </ac:spMkLst>
        </pc:spChg>
        <pc:spChg chg="add mod">
          <ac:chgData name="Yiqun Dai" userId="360a2182-b97f-4635-b990-04f846616e33" providerId="ADAL" clId="{8F04EA49-0EFC-48F3-A4D8-E0F0D3B461A8}" dt="2025-10-13T05:32:35.682" v="111904"/>
          <ac:spMkLst>
            <pc:docMk/>
            <pc:sldMk cId="2449204388" sldId="2147481938"/>
            <ac:spMk id="131" creationId="{0F547F4F-F1AB-449B-FC77-45AC9235ACB5}"/>
          </ac:spMkLst>
        </pc:spChg>
        <pc:spChg chg="add mod">
          <ac:chgData name="Yiqun Dai" userId="360a2182-b97f-4635-b990-04f846616e33" providerId="ADAL" clId="{8F04EA49-0EFC-48F3-A4D8-E0F0D3B461A8}" dt="2025-10-13T05:32:35.699" v="111910"/>
          <ac:spMkLst>
            <pc:docMk/>
            <pc:sldMk cId="2449204388" sldId="2147481938"/>
            <ac:spMk id="132" creationId="{58854B17-50DF-8309-55E4-1A892F436B93}"/>
          </ac:spMkLst>
        </pc:spChg>
        <pc:spChg chg="add mod">
          <ac:chgData name="Yiqun Dai" userId="360a2182-b97f-4635-b990-04f846616e33" providerId="ADAL" clId="{8F04EA49-0EFC-48F3-A4D8-E0F0D3B461A8}" dt="2025-10-13T05:32:35.715" v="111919"/>
          <ac:spMkLst>
            <pc:docMk/>
            <pc:sldMk cId="2449204388" sldId="2147481938"/>
            <ac:spMk id="133" creationId="{D0CB6B81-996A-4847-EDB9-834327824227}"/>
          </ac:spMkLst>
        </pc:spChg>
        <pc:spChg chg="add mod">
          <ac:chgData name="Yiqun Dai" userId="360a2182-b97f-4635-b990-04f846616e33" providerId="ADAL" clId="{8F04EA49-0EFC-48F3-A4D8-E0F0D3B461A8}" dt="2025-10-13T05:32:35.720" v="111922"/>
          <ac:spMkLst>
            <pc:docMk/>
            <pc:sldMk cId="2449204388" sldId="2147481938"/>
            <ac:spMk id="134" creationId="{DBFE22A9-C96A-E12F-AFCD-84E26D89E95B}"/>
          </ac:spMkLst>
        </pc:spChg>
        <pc:spChg chg="add mod">
          <ac:chgData name="Yiqun Dai" userId="360a2182-b97f-4635-b990-04f846616e33" providerId="ADAL" clId="{8F04EA49-0EFC-48F3-A4D8-E0F0D3B461A8}" dt="2025-10-13T05:32:35.731" v="111930"/>
          <ac:spMkLst>
            <pc:docMk/>
            <pc:sldMk cId="2449204388" sldId="2147481938"/>
            <ac:spMk id="135" creationId="{BCDB3259-0997-9BF0-6613-0ABE3F0B7C03}"/>
          </ac:spMkLst>
        </pc:spChg>
        <pc:spChg chg="add mod">
          <ac:chgData name="Yiqun Dai" userId="360a2182-b97f-4635-b990-04f846616e33" providerId="ADAL" clId="{8F04EA49-0EFC-48F3-A4D8-E0F0D3B461A8}" dt="2025-10-13T05:32:35.736" v="111933"/>
          <ac:spMkLst>
            <pc:docMk/>
            <pc:sldMk cId="2449204388" sldId="2147481938"/>
            <ac:spMk id="136" creationId="{84107FEF-EFFA-8640-0232-B4D1109D9968}"/>
          </ac:spMkLst>
        </pc:spChg>
        <pc:spChg chg="add mod">
          <ac:chgData name="Yiqun Dai" userId="360a2182-b97f-4635-b990-04f846616e33" providerId="ADAL" clId="{8F04EA49-0EFC-48F3-A4D8-E0F0D3B461A8}" dt="2025-10-12T09:35:06.965" v="111532"/>
          <ac:spMkLst>
            <pc:docMk/>
            <pc:sldMk cId="2449204388" sldId="2147481938"/>
            <ac:spMk id="138" creationId="{A43AC2A2-6315-8C71-C719-DE1B776492D3}"/>
          </ac:spMkLst>
        </pc:spChg>
        <pc:spChg chg="add mod">
          <ac:chgData name="Yiqun Dai" userId="360a2182-b97f-4635-b990-04f846616e33" providerId="ADAL" clId="{8F04EA49-0EFC-48F3-A4D8-E0F0D3B461A8}" dt="2025-10-12T09:35:06.965" v="111533"/>
          <ac:spMkLst>
            <pc:docMk/>
            <pc:sldMk cId="2449204388" sldId="2147481938"/>
            <ac:spMk id="139" creationId="{504BF510-FCDF-257A-7982-E14A6DDE6999}"/>
          </ac:spMkLst>
        </pc:spChg>
        <pc:spChg chg="add mod">
          <ac:chgData name="Yiqun Dai" userId="360a2182-b97f-4635-b990-04f846616e33" providerId="ADAL" clId="{8F04EA49-0EFC-48F3-A4D8-E0F0D3B461A8}" dt="2025-10-12T09:35:06.965" v="111534"/>
          <ac:spMkLst>
            <pc:docMk/>
            <pc:sldMk cId="2449204388" sldId="2147481938"/>
            <ac:spMk id="140" creationId="{63A349DE-CF4A-008B-DC6E-340C47ABB397}"/>
          </ac:spMkLst>
        </pc:spChg>
        <pc:spChg chg="add mod">
          <ac:chgData name="Yiqun Dai" userId="360a2182-b97f-4635-b990-04f846616e33" providerId="ADAL" clId="{8F04EA49-0EFC-48F3-A4D8-E0F0D3B461A8}" dt="2025-10-12T09:35:06.965" v="111535"/>
          <ac:spMkLst>
            <pc:docMk/>
            <pc:sldMk cId="2449204388" sldId="2147481938"/>
            <ac:spMk id="141" creationId="{E6577030-D79C-E629-6C11-94BC2697B3EB}"/>
          </ac:spMkLst>
        </pc:spChg>
        <pc:spChg chg="add mod">
          <ac:chgData name="Yiqun Dai" userId="360a2182-b97f-4635-b990-04f846616e33" providerId="ADAL" clId="{8F04EA49-0EFC-48F3-A4D8-E0F0D3B461A8}" dt="2025-10-12T09:35:06.981" v="111536"/>
          <ac:spMkLst>
            <pc:docMk/>
            <pc:sldMk cId="2449204388" sldId="2147481938"/>
            <ac:spMk id="142" creationId="{AC0E7FAB-427E-8AC6-3B6A-AADD3EB07BA3}"/>
          </ac:spMkLst>
        </pc:spChg>
        <pc:spChg chg="add mod">
          <ac:chgData name="Yiqun Dai" userId="360a2182-b97f-4635-b990-04f846616e33" providerId="ADAL" clId="{8F04EA49-0EFC-48F3-A4D8-E0F0D3B461A8}" dt="2025-10-12T09:35:06.981" v="111537"/>
          <ac:spMkLst>
            <pc:docMk/>
            <pc:sldMk cId="2449204388" sldId="2147481938"/>
            <ac:spMk id="143" creationId="{F24C98B8-B136-51E1-E2AA-BD5C4A2FDE77}"/>
          </ac:spMkLst>
        </pc:spChg>
        <pc:spChg chg="add mod">
          <ac:chgData name="Yiqun Dai" userId="360a2182-b97f-4635-b990-04f846616e33" providerId="ADAL" clId="{8F04EA49-0EFC-48F3-A4D8-E0F0D3B461A8}" dt="2025-10-12T09:35:06.981" v="111538"/>
          <ac:spMkLst>
            <pc:docMk/>
            <pc:sldMk cId="2449204388" sldId="2147481938"/>
            <ac:spMk id="144" creationId="{AB99AD4A-DFCE-A409-7640-2F535D2B5B61}"/>
          </ac:spMkLst>
        </pc:spChg>
        <pc:spChg chg="add mod">
          <ac:chgData name="Yiqun Dai" userId="360a2182-b97f-4635-b990-04f846616e33" providerId="ADAL" clId="{8F04EA49-0EFC-48F3-A4D8-E0F0D3B461A8}" dt="2025-10-12T09:35:06.981" v="111539"/>
          <ac:spMkLst>
            <pc:docMk/>
            <pc:sldMk cId="2449204388" sldId="2147481938"/>
            <ac:spMk id="145" creationId="{ADDE4D7D-C953-6DBC-5C46-5D85C6C8C376}"/>
          </ac:spMkLst>
        </pc:spChg>
        <pc:spChg chg="add mod">
          <ac:chgData name="Yiqun Dai" userId="360a2182-b97f-4635-b990-04f846616e33" providerId="ADAL" clId="{8F04EA49-0EFC-48F3-A4D8-E0F0D3B461A8}" dt="2025-10-12T09:35:06.981" v="111540"/>
          <ac:spMkLst>
            <pc:docMk/>
            <pc:sldMk cId="2449204388" sldId="2147481938"/>
            <ac:spMk id="146" creationId="{188A728B-276E-4389-C120-6998F830AF1C}"/>
          </ac:spMkLst>
        </pc:spChg>
        <pc:spChg chg="add mod">
          <ac:chgData name="Yiqun Dai" userId="360a2182-b97f-4635-b990-04f846616e33" providerId="ADAL" clId="{8F04EA49-0EFC-48F3-A4D8-E0F0D3B461A8}" dt="2025-10-12T09:35:06.981" v="111541"/>
          <ac:spMkLst>
            <pc:docMk/>
            <pc:sldMk cId="2449204388" sldId="2147481938"/>
            <ac:spMk id="147" creationId="{4C1C3822-1ED3-47FE-5017-BEA56572D576}"/>
          </ac:spMkLst>
        </pc:spChg>
        <pc:spChg chg="add mod">
          <ac:chgData name="Yiqun Dai" userId="360a2182-b97f-4635-b990-04f846616e33" providerId="ADAL" clId="{8F04EA49-0EFC-48F3-A4D8-E0F0D3B461A8}" dt="2025-10-12T09:35:06.981" v="111542"/>
          <ac:spMkLst>
            <pc:docMk/>
            <pc:sldMk cId="2449204388" sldId="2147481938"/>
            <ac:spMk id="148" creationId="{A4C5B31E-174D-53A6-2D15-E7B8AD390828}"/>
          </ac:spMkLst>
        </pc:spChg>
        <pc:spChg chg="add mod ord">
          <ac:chgData name="Yiqun Dai" userId="360a2182-b97f-4635-b990-04f846616e33" providerId="ADAL" clId="{8F04EA49-0EFC-48F3-A4D8-E0F0D3B461A8}" dt="2025-10-12T09:35:06.981" v="111555"/>
          <ac:spMkLst>
            <pc:docMk/>
            <pc:sldMk cId="2449204388" sldId="2147481938"/>
            <ac:spMk id="150" creationId="{CC8D9D2B-D8E3-E406-6472-1D099EFC4AD0}"/>
          </ac:spMkLst>
        </pc:spChg>
        <pc:spChg chg="add mod ord">
          <ac:chgData name="Yiqun Dai" userId="360a2182-b97f-4635-b990-04f846616e33" providerId="ADAL" clId="{8F04EA49-0EFC-48F3-A4D8-E0F0D3B461A8}" dt="2025-10-12T09:35:06.981" v="111557"/>
          <ac:spMkLst>
            <pc:docMk/>
            <pc:sldMk cId="2449204388" sldId="2147481938"/>
            <ac:spMk id="151" creationId="{F3047810-D850-88EF-B42C-B413F10C6CDE}"/>
          </ac:spMkLst>
        </pc:spChg>
        <pc:spChg chg="add mod ord">
          <ac:chgData name="Yiqun Dai" userId="360a2182-b97f-4635-b990-04f846616e33" providerId="ADAL" clId="{8F04EA49-0EFC-48F3-A4D8-E0F0D3B461A8}" dt="2025-10-12T09:35:06.981" v="111559"/>
          <ac:spMkLst>
            <pc:docMk/>
            <pc:sldMk cId="2449204388" sldId="2147481938"/>
            <ac:spMk id="152" creationId="{4A196BF7-8EDC-FD15-1835-EB813E95D91A}"/>
          </ac:spMkLst>
        </pc:spChg>
        <pc:spChg chg="add mod ord">
          <ac:chgData name="Yiqun Dai" userId="360a2182-b97f-4635-b990-04f846616e33" providerId="ADAL" clId="{8F04EA49-0EFC-48F3-A4D8-E0F0D3B461A8}" dt="2025-10-12T09:35:06.981" v="111561"/>
          <ac:spMkLst>
            <pc:docMk/>
            <pc:sldMk cId="2449204388" sldId="2147481938"/>
            <ac:spMk id="153" creationId="{639C48FC-BA4C-9D67-B1B8-EB47BF37A5F1}"/>
          </ac:spMkLst>
        </pc:spChg>
        <pc:spChg chg="mod">
          <ac:chgData name="Yiqun Dai" userId="360a2182-b97f-4635-b990-04f846616e33" providerId="ADAL" clId="{8F04EA49-0EFC-48F3-A4D8-E0F0D3B461A8}" dt="2025-10-12T09:35:06.997" v="111588"/>
          <ac:spMkLst>
            <pc:docMk/>
            <pc:sldMk cId="2449204388" sldId="2147481938"/>
            <ac:spMk id="209" creationId="{91D9844F-84E5-AEA3-E1F6-D016D248A93D}"/>
          </ac:spMkLst>
        </pc:spChg>
        <pc:spChg chg="mod ord">
          <ac:chgData name="Yiqun Dai" userId="360a2182-b97f-4635-b990-04f846616e33" providerId="ADAL" clId="{8F04EA49-0EFC-48F3-A4D8-E0F0D3B461A8}" dt="2025-10-12T09:35:06.997" v="111589"/>
          <ac:spMkLst>
            <pc:docMk/>
            <pc:sldMk cId="2449204388" sldId="2147481938"/>
            <ac:spMk id="210" creationId="{24EF10AC-9AAB-6CAA-5C0C-205BC6BC2FE1}"/>
          </ac:spMkLst>
        </pc:spChg>
        <pc:spChg chg="add mod">
          <ac:chgData name="Yiqun Dai" userId="360a2182-b97f-4635-b990-04f846616e33" providerId="ADAL" clId="{8F04EA49-0EFC-48F3-A4D8-E0F0D3B461A8}" dt="2025-10-12T09:35:06.997" v="111590"/>
          <ac:spMkLst>
            <pc:docMk/>
            <pc:sldMk cId="2449204388" sldId="2147481938"/>
            <ac:spMk id="211" creationId="{1AB06AC1-2EFF-67E0-3116-54BCC7FD5A9A}"/>
          </ac:spMkLst>
        </pc:spChg>
        <pc:spChg chg="mod ord">
          <ac:chgData name="Yiqun Dai" userId="360a2182-b97f-4635-b990-04f846616e33" providerId="ADAL" clId="{8F04EA49-0EFC-48F3-A4D8-E0F0D3B461A8}" dt="2025-10-12T09:35:06.997" v="111591"/>
          <ac:spMkLst>
            <pc:docMk/>
            <pc:sldMk cId="2449204388" sldId="2147481938"/>
            <ac:spMk id="212" creationId="{0FADD4B1-13D0-81DB-1A6B-5494B6425D28}"/>
          </ac:spMkLst>
        </pc:spChg>
        <pc:spChg chg="mod">
          <ac:chgData name="Yiqun Dai" userId="360a2182-b97f-4635-b990-04f846616e33" providerId="ADAL" clId="{8F04EA49-0EFC-48F3-A4D8-E0F0D3B461A8}" dt="2025-10-12T09:35:06.997" v="111592"/>
          <ac:spMkLst>
            <pc:docMk/>
            <pc:sldMk cId="2449204388" sldId="2147481938"/>
            <ac:spMk id="216" creationId="{DBA8CFE2-3837-6078-DF41-786261D3031B}"/>
          </ac:spMkLst>
        </pc:spChg>
        <pc:spChg chg="mod">
          <ac:chgData name="Yiqun Dai" userId="360a2182-b97f-4635-b990-04f846616e33" providerId="ADAL" clId="{8F04EA49-0EFC-48F3-A4D8-E0F0D3B461A8}" dt="2025-10-12T09:35:06.997" v="111593"/>
          <ac:spMkLst>
            <pc:docMk/>
            <pc:sldMk cId="2449204388" sldId="2147481938"/>
            <ac:spMk id="217" creationId="{1618F498-623C-5D9B-7AD2-5533033B2386}"/>
          </ac:spMkLst>
        </pc:spChg>
        <pc:spChg chg="mod ord">
          <ac:chgData name="Yiqun Dai" userId="360a2182-b97f-4635-b990-04f846616e33" providerId="ADAL" clId="{8F04EA49-0EFC-48F3-A4D8-E0F0D3B461A8}" dt="2025-10-12T09:35:06.997" v="111594"/>
          <ac:spMkLst>
            <pc:docMk/>
            <pc:sldMk cId="2449204388" sldId="2147481938"/>
            <ac:spMk id="218" creationId="{2FB97B70-FBF9-0F23-05CB-CF617E6A6AB7}"/>
          </ac:spMkLst>
        </pc:spChg>
        <pc:spChg chg="mod">
          <ac:chgData name="Yiqun Dai" userId="360a2182-b97f-4635-b990-04f846616e33" providerId="ADAL" clId="{8F04EA49-0EFC-48F3-A4D8-E0F0D3B461A8}" dt="2025-10-12T09:35:06.997" v="111595"/>
          <ac:spMkLst>
            <pc:docMk/>
            <pc:sldMk cId="2449204388" sldId="2147481938"/>
            <ac:spMk id="219" creationId="{DE126C03-6AF3-F102-A470-35CFC864183B}"/>
          </ac:spMkLst>
        </pc:spChg>
        <pc:spChg chg="mod ord">
          <ac:chgData name="Yiqun Dai" userId="360a2182-b97f-4635-b990-04f846616e33" providerId="ADAL" clId="{8F04EA49-0EFC-48F3-A4D8-E0F0D3B461A8}" dt="2025-10-12T09:35:06.997" v="111597"/>
          <ac:spMkLst>
            <pc:docMk/>
            <pc:sldMk cId="2449204388" sldId="2147481938"/>
            <ac:spMk id="220" creationId="{1D79FBF6-F232-FEEF-CE8B-405DC8B68C5D}"/>
          </ac:spMkLst>
        </pc:spChg>
        <pc:spChg chg="add mod ord">
          <ac:chgData name="Yiqun Dai" userId="360a2182-b97f-4635-b990-04f846616e33" providerId="ADAL" clId="{8F04EA49-0EFC-48F3-A4D8-E0F0D3B461A8}" dt="2025-10-12T09:35:06.997" v="111599"/>
          <ac:spMkLst>
            <pc:docMk/>
            <pc:sldMk cId="2449204388" sldId="2147481938"/>
            <ac:spMk id="221" creationId="{8E36CB31-94A1-DEF9-181D-6493129155C6}"/>
          </ac:spMkLst>
        </pc:spChg>
        <pc:spChg chg="add mod">
          <ac:chgData name="Yiqun Dai" userId="360a2182-b97f-4635-b990-04f846616e33" providerId="ADAL" clId="{8F04EA49-0EFC-48F3-A4D8-E0F0D3B461A8}" dt="2025-10-12T09:35:06.997" v="111600"/>
          <ac:spMkLst>
            <pc:docMk/>
            <pc:sldMk cId="2449204388" sldId="2147481938"/>
            <ac:spMk id="226" creationId="{207EFB98-6161-06EF-CB06-8C8E9357FF69}"/>
          </ac:spMkLst>
        </pc:spChg>
        <pc:spChg chg="mod">
          <ac:chgData name="Yiqun Dai" userId="360a2182-b97f-4635-b990-04f846616e33" providerId="ADAL" clId="{8F04EA49-0EFC-48F3-A4D8-E0F0D3B461A8}" dt="2025-10-12T09:35:06.997" v="111601"/>
          <ac:spMkLst>
            <pc:docMk/>
            <pc:sldMk cId="2449204388" sldId="2147481938"/>
            <ac:spMk id="227" creationId="{E823BF2A-28DB-CC67-803B-F4539D4443CC}"/>
          </ac:spMkLst>
        </pc:spChg>
        <pc:spChg chg="mod">
          <ac:chgData name="Yiqun Dai" userId="360a2182-b97f-4635-b990-04f846616e33" providerId="ADAL" clId="{8F04EA49-0EFC-48F3-A4D8-E0F0D3B461A8}" dt="2025-10-12T09:35:06.997" v="111602"/>
          <ac:spMkLst>
            <pc:docMk/>
            <pc:sldMk cId="2449204388" sldId="2147481938"/>
            <ac:spMk id="228" creationId="{1E59F577-1099-2C55-8659-546A706C7ED6}"/>
          </ac:spMkLst>
        </pc:spChg>
        <pc:spChg chg="add mod ord">
          <ac:chgData name="Yiqun Dai" userId="360a2182-b97f-4635-b990-04f846616e33" providerId="ADAL" clId="{8F04EA49-0EFC-48F3-A4D8-E0F0D3B461A8}" dt="2025-10-12T09:35:07.012" v="111608"/>
          <ac:spMkLst>
            <pc:docMk/>
            <pc:sldMk cId="2449204388" sldId="2147481938"/>
            <ac:spMk id="229" creationId="{F5C1802E-34CE-91AC-2DEC-49D125CDC054}"/>
          </ac:spMkLst>
        </pc:spChg>
        <pc:spChg chg="mod ord">
          <ac:chgData name="Yiqun Dai" userId="360a2182-b97f-4635-b990-04f846616e33" providerId="ADAL" clId="{8F04EA49-0EFC-48F3-A4D8-E0F0D3B461A8}" dt="2025-10-12T09:35:07.012" v="111610"/>
          <ac:spMkLst>
            <pc:docMk/>
            <pc:sldMk cId="2449204388" sldId="2147481938"/>
            <ac:spMk id="230" creationId="{ABD2C546-A25B-6BBC-0F35-45D973BEFF80}"/>
          </ac:spMkLst>
        </pc:spChg>
        <pc:spChg chg="mod">
          <ac:chgData name="Yiqun Dai" userId="360a2182-b97f-4635-b990-04f846616e33" providerId="ADAL" clId="{8F04EA49-0EFC-48F3-A4D8-E0F0D3B461A8}" dt="2025-10-12T09:35:07.012" v="111611"/>
          <ac:spMkLst>
            <pc:docMk/>
            <pc:sldMk cId="2449204388" sldId="2147481938"/>
            <ac:spMk id="231" creationId="{BC3125DC-E23C-8188-5F6B-CFA78E47A19E}"/>
          </ac:spMkLst>
        </pc:spChg>
        <pc:spChg chg="mod">
          <ac:chgData name="Yiqun Dai" userId="360a2182-b97f-4635-b990-04f846616e33" providerId="ADAL" clId="{8F04EA49-0EFC-48F3-A4D8-E0F0D3B461A8}" dt="2025-10-12T09:35:07.012" v="111612"/>
          <ac:spMkLst>
            <pc:docMk/>
            <pc:sldMk cId="2449204388" sldId="2147481938"/>
            <ac:spMk id="232" creationId="{AE51166B-1775-1418-7AD5-9D1242196C6D}"/>
          </ac:spMkLst>
        </pc:spChg>
        <pc:spChg chg="mod">
          <ac:chgData name="Yiqun Dai" userId="360a2182-b97f-4635-b990-04f846616e33" providerId="ADAL" clId="{8F04EA49-0EFC-48F3-A4D8-E0F0D3B461A8}" dt="2025-10-12T09:35:07.012" v="111613"/>
          <ac:spMkLst>
            <pc:docMk/>
            <pc:sldMk cId="2449204388" sldId="2147481938"/>
            <ac:spMk id="233" creationId="{CAAE34CF-ADA8-5595-D22A-FCF8EABAC177}"/>
          </ac:spMkLst>
        </pc:spChg>
        <pc:spChg chg="mod">
          <ac:chgData name="Yiqun Dai" userId="360a2182-b97f-4635-b990-04f846616e33" providerId="ADAL" clId="{8F04EA49-0EFC-48F3-A4D8-E0F0D3B461A8}" dt="2025-10-12T09:35:07.012" v="111614"/>
          <ac:spMkLst>
            <pc:docMk/>
            <pc:sldMk cId="2449204388" sldId="2147481938"/>
            <ac:spMk id="234" creationId="{30CDDD42-2E1B-7E63-2E7A-515EE681A5D8}"/>
          </ac:spMkLst>
        </pc:spChg>
        <pc:spChg chg="mod ord">
          <ac:chgData name="Yiqun Dai" userId="360a2182-b97f-4635-b990-04f846616e33" providerId="ADAL" clId="{8F04EA49-0EFC-48F3-A4D8-E0F0D3B461A8}" dt="2025-10-12T09:35:07.012" v="111616"/>
          <ac:spMkLst>
            <pc:docMk/>
            <pc:sldMk cId="2449204388" sldId="2147481938"/>
            <ac:spMk id="235" creationId="{A02BD63F-0890-ACC8-4AAD-4525CFA1865D}"/>
          </ac:spMkLst>
        </pc:spChg>
        <pc:spChg chg="mod ord">
          <ac:chgData name="Yiqun Dai" userId="360a2182-b97f-4635-b990-04f846616e33" providerId="ADAL" clId="{8F04EA49-0EFC-48F3-A4D8-E0F0D3B461A8}" dt="2025-10-12T09:35:07.012" v="111618"/>
          <ac:spMkLst>
            <pc:docMk/>
            <pc:sldMk cId="2449204388" sldId="2147481938"/>
            <ac:spMk id="236" creationId="{DACB512F-1D53-6605-601C-96A8B4052F7E}"/>
          </ac:spMkLst>
        </pc:spChg>
        <pc:spChg chg="add mod">
          <ac:chgData name="Yiqun Dai" userId="360a2182-b97f-4635-b990-04f846616e33" providerId="ADAL" clId="{8F04EA49-0EFC-48F3-A4D8-E0F0D3B461A8}" dt="2025-10-13T05:32:35.745" v="111936"/>
          <ac:spMkLst>
            <pc:docMk/>
            <pc:sldMk cId="2449204388" sldId="2147481938"/>
            <ac:spMk id="241" creationId="{0C7225E2-0301-EF51-CE3C-9588C0340FCD}"/>
          </ac:spMkLst>
        </pc:spChg>
        <pc:spChg chg="mod">
          <ac:chgData name="Yiqun Dai" userId="360a2182-b97f-4635-b990-04f846616e33" providerId="ADAL" clId="{8F04EA49-0EFC-48F3-A4D8-E0F0D3B461A8}" dt="2025-10-13T05:32:35.755" v="111944"/>
          <ac:spMkLst>
            <pc:docMk/>
            <pc:sldMk cId="2449204388" sldId="2147481938"/>
            <ac:spMk id="242" creationId="{8CF5B02B-C034-22D9-7132-CBD81658DFA4}"/>
          </ac:spMkLst>
        </pc:spChg>
        <pc:spChg chg="mod">
          <ac:chgData name="Yiqun Dai" userId="360a2182-b97f-4635-b990-04f846616e33" providerId="ADAL" clId="{8F04EA49-0EFC-48F3-A4D8-E0F0D3B461A8}" dt="2025-10-13T05:32:35.759" v="111947"/>
          <ac:spMkLst>
            <pc:docMk/>
            <pc:sldMk cId="2449204388" sldId="2147481938"/>
            <ac:spMk id="243" creationId="{F7AFA3BD-41A0-996A-D050-71CBA17B40E4}"/>
          </ac:spMkLst>
        </pc:spChg>
        <pc:spChg chg="mod">
          <ac:chgData name="Yiqun Dai" userId="360a2182-b97f-4635-b990-04f846616e33" providerId="ADAL" clId="{8F04EA49-0EFC-48F3-A4D8-E0F0D3B461A8}" dt="2025-10-13T05:32:35.764" v="111950"/>
          <ac:spMkLst>
            <pc:docMk/>
            <pc:sldMk cId="2449204388" sldId="2147481938"/>
            <ac:spMk id="244" creationId="{C0BF078B-3851-9201-A810-69CEE66EED3C}"/>
          </ac:spMkLst>
        </pc:spChg>
        <pc:spChg chg="add mod">
          <ac:chgData name="Yiqun Dai" userId="360a2182-b97f-4635-b990-04f846616e33" providerId="ADAL" clId="{8F04EA49-0EFC-48F3-A4D8-E0F0D3B461A8}" dt="2025-10-13T05:32:35.769" v="111953"/>
          <ac:spMkLst>
            <pc:docMk/>
            <pc:sldMk cId="2449204388" sldId="2147481938"/>
            <ac:spMk id="245" creationId="{6CE94CF9-F694-3889-BB14-7ED2E3E4FAAD}"/>
          </ac:spMkLst>
        </pc:spChg>
        <pc:spChg chg="add mod">
          <ac:chgData name="Yiqun Dai" userId="360a2182-b97f-4635-b990-04f846616e33" providerId="ADAL" clId="{8F04EA49-0EFC-48F3-A4D8-E0F0D3B461A8}" dt="2025-10-13T05:32:35.774" v="111956"/>
          <ac:spMkLst>
            <pc:docMk/>
            <pc:sldMk cId="2449204388" sldId="2147481938"/>
            <ac:spMk id="246" creationId="{C98612FD-AB43-B89F-0CF1-96418DE9BFD2}"/>
          </ac:spMkLst>
        </pc:spChg>
        <pc:spChg chg="mod">
          <ac:chgData name="Yiqun Dai" userId="360a2182-b97f-4635-b990-04f846616e33" providerId="ADAL" clId="{8F04EA49-0EFC-48F3-A4D8-E0F0D3B461A8}" dt="2025-10-13T05:32:35.785" v="111964"/>
          <ac:spMkLst>
            <pc:docMk/>
            <pc:sldMk cId="2449204388" sldId="2147481938"/>
            <ac:spMk id="247" creationId="{B26B6579-3D3B-FF0B-94F5-8CE8F1F2FCA9}"/>
          </ac:spMkLst>
        </pc:spChg>
        <pc:spChg chg="mod ord">
          <ac:chgData name="Yiqun Dai" userId="360a2182-b97f-4635-b990-04f846616e33" providerId="ADAL" clId="{8F04EA49-0EFC-48F3-A4D8-E0F0D3B461A8}" dt="2025-10-12T09:35:07.012" v="111627"/>
          <ac:spMkLst>
            <pc:docMk/>
            <pc:sldMk cId="2449204388" sldId="2147481938"/>
            <ac:spMk id="252" creationId="{C9A3F49B-D7A5-111F-EB44-B7FCAEF98E5F}"/>
          </ac:spMkLst>
        </pc:spChg>
        <pc:spChg chg="add mod ord">
          <ac:chgData name="Yiqun Dai" userId="360a2182-b97f-4635-b990-04f846616e33" providerId="ADAL" clId="{8F04EA49-0EFC-48F3-A4D8-E0F0D3B461A8}" dt="2025-10-12T09:35:07.012" v="111629"/>
          <ac:spMkLst>
            <pc:docMk/>
            <pc:sldMk cId="2449204388" sldId="2147481938"/>
            <ac:spMk id="253" creationId="{BFCD70D7-F706-C43F-327B-664260B4105D}"/>
          </ac:spMkLst>
        </pc:spChg>
        <pc:spChg chg="add mod ord">
          <ac:chgData name="Yiqun Dai" userId="360a2182-b97f-4635-b990-04f846616e33" providerId="ADAL" clId="{8F04EA49-0EFC-48F3-A4D8-E0F0D3B461A8}" dt="2025-10-12T09:35:06.997" v="111604"/>
          <ac:spMkLst>
            <pc:docMk/>
            <pc:sldMk cId="2449204388" sldId="2147481938"/>
            <ac:spMk id="262" creationId="{CFEC19D9-7B40-4BA0-838A-BE75A3F54AB9}"/>
          </ac:spMkLst>
        </pc:spChg>
        <pc:spChg chg="add mod ord">
          <ac:chgData name="Yiqun Dai" userId="360a2182-b97f-4635-b990-04f846616e33" providerId="ADAL" clId="{8F04EA49-0EFC-48F3-A4D8-E0F0D3B461A8}" dt="2025-10-12T09:35:07.012" v="111606"/>
          <ac:spMkLst>
            <pc:docMk/>
            <pc:sldMk cId="2449204388" sldId="2147481938"/>
            <ac:spMk id="263" creationId="{A4CAEA18-D78C-792F-DD40-EF594536BF98}"/>
          </ac:spMkLst>
        </pc:spChg>
        <pc:spChg chg="add mod">
          <ac:chgData name="Yiqun Dai" userId="360a2182-b97f-4635-b990-04f846616e33" providerId="ADAL" clId="{8F04EA49-0EFC-48F3-A4D8-E0F0D3B461A8}" dt="2025-10-12T09:44:47.189" v="111652"/>
          <ac:spMkLst>
            <pc:docMk/>
            <pc:sldMk cId="2449204388" sldId="2147481938"/>
            <ac:spMk id="284" creationId="{C81DD758-EB03-AA9E-F5DF-DD0D14A048F8}"/>
          </ac:spMkLst>
        </pc:spChg>
        <pc:spChg chg="add mod">
          <ac:chgData name="Yiqun Dai" userId="360a2182-b97f-4635-b990-04f846616e33" providerId="ADAL" clId="{8F04EA49-0EFC-48F3-A4D8-E0F0D3B461A8}" dt="2025-10-12T09:45:56.317" v="111660"/>
          <ac:spMkLst>
            <pc:docMk/>
            <pc:sldMk cId="2449204388" sldId="2147481938"/>
            <ac:spMk id="285" creationId="{B0275733-7D86-B53F-FDDA-9128BB296B4B}"/>
          </ac:spMkLst>
        </pc:spChg>
        <pc:spChg chg="add mod">
          <ac:chgData name="Yiqun Dai" userId="360a2182-b97f-4635-b990-04f846616e33" providerId="ADAL" clId="{8F04EA49-0EFC-48F3-A4D8-E0F0D3B461A8}" dt="2025-10-12T09:55:02.509" v="111874" actId="1076"/>
          <ac:spMkLst>
            <pc:docMk/>
            <pc:sldMk cId="2449204388" sldId="2147481938"/>
            <ac:spMk id="288" creationId="{72E52D05-63AD-DCE1-2298-81CCD731B728}"/>
          </ac:spMkLst>
        </pc:spChg>
        <pc:graphicFrameChg chg="add mod ord modVis">
          <ac:chgData name="Yiqun Dai" userId="360a2182-b97f-4635-b990-04f846616e33" providerId="ADAL" clId="{8F04EA49-0EFC-48F3-A4D8-E0F0D3B461A8}" dt="2025-10-13T06:03:44.132" v="112439"/>
          <ac:graphicFrameMkLst>
            <pc:docMk/>
            <pc:sldMk cId="2449204388" sldId="2147481938"/>
            <ac:graphicFrameMk id="37" creationId="{D2EB8A7D-66FA-9FAF-1549-A363EE941CD8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2T09:35:06.981" v="111563"/>
          <ac:graphicFrameMkLst>
            <pc:docMk/>
            <pc:sldMk cId="2449204388" sldId="2147481938"/>
            <ac:graphicFrameMk id="158" creationId="{4036D82D-D6EA-7040-EA7A-823AD4BE01E8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2T09:35:06.949" v="111481"/>
          <ac:graphicFrameMkLst>
            <pc:docMk/>
            <pc:sldMk cId="2449204388" sldId="2147481938"/>
            <ac:graphicFrameMk id="160" creationId="{8127F42F-19D5-B67B-FF87-1C75DE125653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2T09:35:06.981" v="111565"/>
          <ac:graphicFrameMkLst>
            <pc:docMk/>
            <pc:sldMk cId="2449204388" sldId="2147481938"/>
            <ac:graphicFrameMk id="161" creationId="{8088D897-C73F-FDCD-3C86-AC4EC6B192D1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2T09:35:06.981" v="111567"/>
          <ac:graphicFrameMkLst>
            <pc:docMk/>
            <pc:sldMk cId="2449204388" sldId="2147481938"/>
            <ac:graphicFrameMk id="164" creationId="{40E4C99D-DB8E-92E1-8352-C588D88AC31D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0-12T09:35:06.981" v="111571"/>
          <ac:graphicFrameMkLst>
            <pc:docMk/>
            <pc:sldMk cId="2449204388" sldId="2147481938"/>
            <ac:graphicFrameMk id="196" creationId="{D997222E-DE11-FFBF-C726-ED020BACC741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2T09:35:06.981" v="111569"/>
          <ac:graphicFrameMkLst>
            <pc:docMk/>
            <pc:sldMk cId="2449204388" sldId="2147481938"/>
            <ac:graphicFrameMk id="203" creationId="{E1568BE1-6E19-52E8-8BDC-2FD9D83BE55C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0-12T09:35:07.012" v="111631"/>
          <ac:graphicFrameMkLst>
            <pc:docMk/>
            <pc:sldMk cId="2449204388" sldId="2147481938"/>
            <ac:graphicFrameMk id="257" creationId="{0092E133-1BE9-D882-86CA-ADB9F2620522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0-12T09:35:07.012" v="111633"/>
          <ac:graphicFrameMkLst>
            <pc:docMk/>
            <pc:sldMk cId="2449204388" sldId="2147481938"/>
            <ac:graphicFrameMk id="258" creationId="{9B2A1BD0-31D2-A031-4DA6-B7B1F9880468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0-12T09:35:07.012" v="111635"/>
          <ac:graphicFrameMkLst>
            <pc:docMk/>
            <pc:sldMk cId="2449204388" sldId="2147481938"/>
            <ac:graphicFrameMk id="259" creationId="{0C0F1F12-352D-A3B5-5C62-CDD7A1F0269D}"/>
          </ac:graphicFrameMkLst>
        </pc:graphicFrameChg>
        <pc:graphicFrameChg chg="add mod ord">
          <ac:chgData name="Yiqun Dai" userId="360a2182-b97f-4635-b990-04f846616e33" providerId="ADAL" clId="{8F04EA49-0EFC-48F3-A4D8-E0F0D3B461A8}" dt="2025-10-12T09:35:06.958" v="111495"/>
          <ac:graphicFrameMkLst>
            <pc:docMk/>
            <pc:sldMk cId="2449204388" sldId="2147481938"/>
            <ac:graphicFrameMk id="282" creationId="{1CB79A4E-3DCB-2B73-FF57-9CBC9436C511}"/>
          </ac:graphicFrameMkLst>
        </pc:graphicFrameChg>
        <pc:graphicFrameChg chg="add mod ord">
          <ac:chgData name="Yiqun Dai" userId="360a2182-b97f-4635-b990-04f846616e33" providerId="ADAL" clId="{8F04EA49-0EFC-48F3-A4D8-E0F0D3B461A8}" dt="2025-10-12T09:35:06.997" v="111581"/>
          <ac:graphicFrameMkLst>
            <pc:docMk/>
            <pc:sldMk cId="2449204388" sldId="2147481938"/>
            <ac:graphicFrameMk id="283" creationId="{AD5B9D7F-D719-6141-E423-87AA9E0319CF}"/>
          </ac:graphicFrameMkLst>
        </pc:graphicFrameChg>
        <pc:cxnChg chg="mod ord">
          <ac:chgData name="Yiqun Dai" userId="360a2182-b97f-4635-b990-04f846616e33" providerId="ADAL" clId="{8F04EA49-0EFC-48F3-A4D8-E0F0D3B461A8}" dt="2025-10-12T09:35:06.958" v="111497"/>
          <ac:cxnSpMkLst>
            <pc:docMk/>
            <pc:sldMk cId="2449204388" sldId="2147481938"/>
            <ac:cxnSpMk id="5" creationId="{F077F0DD-2549-C922-289B-5E13B3C4AE64}"/>
          </ac:cxnSpMkLst>
        </pc:cxnChg>
        <pc:cxnChg chg="mod ord">
          <ac:chgData name="Yiqun Dai" userId="360a2182-b97f-4635-b990-04f846616e33" providerId="ADAL" clId="{8F04EA49-0EFC-48F3-A4D8-E0F0D3B461A8}" dt="2025-10-12T09:35:06.958" v="111499"/>
          <ac:cxnSpMkLst>
            <pc:docMk/>
            <pc:sldMk cId="2449204388" sldId="2147481938"/>
            <ac:cxnSpMk id="6" creationId="{EC9BC8C8-A048-070B-E57D-C3B577705AE4}"/>
          </ac:cxnSpMkLst>
        </pc:cxnChg>
        <pc:cxnChg chg="mod ord">
          <ac:chgData name="Yiqun Dai" userId="360a2182-b97f-4635-b990-04f846616e33" providerId="ADAL" clId="{8F04EA49-0EFC-48F3-A4D8-E0F0D3B461A8}" dt="2025-10-12T09:35:06.958" v="111501"/>
          <ac:cxnSpMkLst>
            <pc:docMk/>
            <pc:sldMk cId="2449204388" sldId="2147481938"/>
            <ac:cxnSpMk id="7" creationId="{F1C943DB-CE86-19DF-477B-5D8D6B80B868}"/>
          </ac:cxnSpMkLst>
        </pc:cxnChg>
        <pc:cxnChg chg="add mod ord">
          <ac:chgData name="Yiqun Dai" userId="360a2182-b97f-4635-b990-04f846616e33" providerId="ADAL" clId="{8F04EA49-0EFC-48F3-A4D8-E0F0D3B461A8}" dt="2025-10-12T09:35:06.965" v="111503"/>
          <ac:cxnSpMkLst>
            <pc:docMk/>
            <pc:sldMk cId="2449204388" sldId="2147481938"/>
            <ac:cxnSpMk id="56" creationId="{AA6B5DA3-B9C4-0824-32DD-D2167BB4F88D}"/>
          </ac:cxnSpMkLst>
        </pc:cxnChg>
        <pc:cxnChg chg="add mod ord">
          <ac:chgData name="Yiqun Dai" userId="360a2182-b97f-4635-b990-04f846616e33" providerId="ADAL" clId="{8F04EA49-0EFC-48F3-A4D8-E0F0D3B461A8}" dt="2025-10-12T09:35:06.958" v="111485"/>
          <ac:cxnSpMkLst>
            <pc:docMk/>
            <pc:sldMk cId="2449204388" sldId="2147481938"/>
            <ac:cxnSpMk id="185" creationId="{21DC8600-C10C-3C0A-ED54-D437D3DF482E}"/>
          </ac:cxnSpMkLst>
        </pc:cxnChg>
        <pc:cxnChg chg="add mod ord">
          <ac:chgData name="Yiqun Dai" userId="360a2182-b97f-4635-b990-04f846616e33" providerId="ADAL" clId="{8F04EA49-0EFC-48F3-A4D8-E0F0D3B461A8}" dt="2025-10-12T09:35:06.958" v="111487"/>
          <ac:cxnSpMkLst>
            <pc:docMk/>
            <pc:sldMk cId="2449204388" sldId="2147481938"/>
            <ac:cxnSpMk id="186" creationId="{885E2FBD-9135-92AD-238A-66684934B815}"/>
          </ac:cxnSpMkLst>
        </pc:cxnChg>
        <pc:cxnChg chg="add mod ord">
          <ac:chgData name="Yiqun Dai" userId="360a2182-b97f-4635-b990-04f846616e33" providerId="ADAL" clId="{8F04EA49-0EFC-48F3-A4D8-E0F0D3B461A8}" dt="2025-10-12T09:35:06.958" v="111489"/>
          <ac:cxnSpMkLst>
            <pc:docMk/>
            <pc:sldMk cId="2449204388" sldId="2147481938"/>
            <ac:cxnSpMk id="188" creationId="{978DA0DF-6F9B-55D4-67E6-BECFB6A60677}"/>
          </ac:cxnSpMkLst>
        </pc:cxnChg>
        <pc:cxnChg chg="add mod ord">
          <ac:chgData name="Yiqun Dai" userId="360a2182-b97f-4635-b990-04f846616e33" providerId="ADAL" clId="{8F04EA49-0EFC-48F3-A4D8-E0F0D3B461A8}" dt="2025-10-12T09:35:06.958" v="111491"/>
          <ac:cxnSpMkLst>
            <pc:docMk/>
            <pc:sldMk cId="2449204388" sldId="2147481938"/>
            <ac:cxnSpMk id="190" creationId="{89C42851-454D-74BA-5815-1B830354C710}"/>
          </ac:cxnSpMkLst>
        </pc:cxnChg>
        <pc:cxnChg chg="add mod ord">
          <ac:chgData name="Yiqun Dai" userId="360a2182-b97f-4635-b990-04f846616e33" providerId="ADAL" clId="{8F04EA49-0EFC-48F3-A4D8-E0F0D3B461A8}" dt="2025-10-12T09:35:06.958" v="111493"/>
          <ac:cxnSpMkLst>
            <pc:docMk/>
            <pc:sldMk cId="2449204388" sldId="2147481938"/>
            <ac:cxnSpMk id="191" creationId="{8A98E475-FBFD-A00D-B445-71B5FC3DD2C1}"/>
          </ac:cxnSpMkLst>
        </pc:cxnChg>
        <pc:cxnChg chg="mod ord">
          <ac:chgData name="Yiqun Dai" userId="360a2182-b97f-4635-b990-04f846616e33" providerId="ADAL" clId="{8F04EA49-0EFC-48F3-A4D8-E0F0D3B461A8}" dt="2025-10-12T09:35:06.997" v="111573"/>
          <ac:cxnSpMkLst>
            <pc:docMk/>
            <pc:sldMk cId="2449204388" sldId="2147481938"/>
            <ac:cxnSpMk id="197" creationId="{88877C4A-C1EB-EECC-B32E-54FD371728B1}"/>
          </ac:cxnSpMkLst>
        </pc:cxnChg>
        <pc:cxnChg chg="mod ord">
          <ac:chgData name="Yiqun Dai" userId="360a2182-b97f-4635-b990-04f846616e33" providerId="ADAL" clId="{8F04EA49-0EFC-48F3-A4D8-E0F0D3B461A8}" dt="2025-10-12T09:35:06.997" v="111575"/>
          <ac:cxnSpMkLst>
            <pc:docMk/>
            <pc:sldMk cId="2449204388" sldId="2147481938"/>
            <ac:cxnSpMk id="198" creationId="{90A632CF-A618-C9DE-6AC0-A2C58816A63E}"/>
          </ac:cxnSpMkLst>
        </pc:cxnChg>
        <pc:cxnChg chg="mod ord">
          <ac:chgData name="Yiqun Dai" userId="360a2182-b97f-4635-b990-04f846616e33" providerId="ADAL" clId="{8F04EA49-0EFC-48F3-A4D8-E0F0D3B461A8}" dt="2025-10-12T09:35:06.997" v="111577"/>
          <ac:cxnSpMkLst>
            <pc:docMk/>
            <pc:sldMk cId="2449204388" sldId="2147481938"/>
            <ac:cxnSpMk id="199" creationId="{F6055858-4AA6-FEAF-5CA3-91E5719941B5}"/>
          </ac:cxnSpMkLst>
        </pc:cxnChg>
        <pc:cxnChg chg="mod ord">
          <ac:chgData name="Yiqun Dai" userId="360a2182-b97f-4635-b990-04f846616e33" providerId="ADAL" clId="{8F04EA49-0EFC-48F3-A4D8-E0F0D3B461A8}" dt="2025-10-12T09:35:06.997" v="111579"/>
          <ac:cxnSpMkLst>
            <pc:docMk/>
            <pc:sldMk cId="2449204388" sldId="2147481938"/>
            <ac:cxnSpMk id="200" creationId="{F7ABE756-AEA7-A119-292A-95E03E295B02}"/>
          </ac:cxnSpMkLst>
        </pc:cxnChg>
        <pc:cxnChg chg="mod ord">
          <ac:chgData name="Yiqun Dai" userId="360a2182-b97f-4635-b990-04f846616e33" providerId="ADAL" clId="{8F04EA49-0EFC-48F3-A4D8-E0F0D3B461A8}" dt="2025-10-12T09:35:06.997" v="111583"/>
          <ac:cxnSpMkLst>
            <pc:docMk/>
            <pc:sldMk cId="2449204388" sldId="2147481938"/>
            <ac:cxnSpMk id="205" creationId="{B2C3BC13-C315-231F-6D8C-54FA19536D7F}"/>
          </ac:cxnSpMkLst>
        </pc:cxnChg>
        <pc:cxnChg chg="mod ord">
          <ac:chgData name="Yiqun Dai" userId="360a2182-b97f-4635-b990-04f846616e33" providerId="ADAL" clId="{8F04EA49-0EFC-48F3-A4D8-E0F0D3B461A8}" dt="2025-10-12T09:35:06.997" v="111585"/>
          <ac:cxnSpMkLst>
            <pc:docMk/>
            <pc:sldMk cId="2449204388" sldId="2147481938"/>
            <ac:cxnSpMk id="206" creationId="{967CADA2-F55E-9F52-CEBB-35C86D461FF6}"/>
          </ac:cxnSpMkLst>
        </pc:cxnChg>
        <pc:cxnChg chg="mod ord">
          <ac:chgData name="Yiqun Dai" userId="360a2182-b97f-4635-b990-04f846616e33" providerId="ADAL" clId="{8F04EA49-0EFC-48F3-A4D8-E0F0D3B461A8}" dt="2025-10-12T09:35:06.997" v="111587"/>
          <ac:cxnSpMkLst>
            <pc:docMk/>
            <pc:sldMk cId="2449204388" sldId="2147481938"/>
            <ac:cxnSpMk id="207" creationId="{B8EA491F-CE98-3847-9F94-F1CAC4231694}"/>
          </ac:cxnSpMkLst>
        </pc:cxnChg>
        <pc:cxnChg chg="add mod">
          <ac:chgData name="Yiqun Dai" userId="360a2182-b97f-4635-b990-04f846616e33" providerId="ADAL" clId="{8F04EA49-0EFC-48F3-A4D8-E0F0D3B461A8}" dt="2025-10-12T09:35:18.150" v="111638"/>
          <ac:cxnSpMkLst>
            <pc:docMk/>
            <pc:sldMk cId="2449204388" sldId="2147481938"/>
            <ac:cxnSpMk id="286" creationId="{CF87B8D1-7F9B-C912-FFE2-A1EC8EF9C079}"/>
          </ac:cxnSpMkLst>
        </pc:cxnChg>
        <pc:cxnChg chg="add mod">
          <ac:chgData name="Yiqun Dai" userId="360a2182-b97f-4635-b990-04f846616e33" providerId="ADAL" clId="{8F04EA49-0EFC-48F3-A4D8-E0F0D3B461A8}" dt="2025-10-12T09:35:18.150" v="111638"/>
          <ac:cxnSpMkLst>
            <pc:docMk/>
            <pc:sldMk cId="2449204388" sldId="2147481938"/>
            <ac:cxnSpMk id="287" creationId="{5D5C70BA-5CD9-0F52-D8B2-329A8023CCB5}"/>
          </ac:cxnSpMkLst>
        </pc:cxnChg>
      </pc:sldChg>
      <pc:sldChg chg="addSp delSp modSp new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1127474592" sldId="2147481939"/>
        </pc:sldMkLst>
        <pc:spChg chg="mod ord">
          <ac:chgData name="Yiqun Dai" userId="360a2182-b97f-4635-b990-04f846616e33" providerId="ADAL" clId="{8F04EA49-0EFC-48F3-A4D8-E0F0D3B461A8}" dt="2025-10-15T02:25:49.694" v="169714" actId="948"/>
          <ac:spMkLst>
            <pc:docMk/>
            <pc:sldMk cId="1127474592" sldId="2147481939"/>
            <ac:spMk id="2" creationId="{802D27BE-B47C-1D9B-7F32-F71684F5AAFA}"/>
          </ac:spMkLst>
        </pc:spChg>
        <pc:spChg chg="add mod">
          <ac:chgData name="Yiqun Dai" userId="360a2182-b97f-4635-b990-04f846616e33" providerId="ADAL" clId="{8F04EA49-0EFC-48F3-A4D8-E0F0D3B461A8}" dt="2025-10-15T01:44:31.048" v="163064"/>
          <ac:spMkLst>
            <pc:docMk/>
            <pc:sldMk cId="1127474592" sldId="2147481939"/>
            <ac:spMk id="4" creationId="{AEBB3160-911C-D666-C3E6-6D6A4193F3AB}"/>
          </ac:spMkLst>
        </pc:spChg>
        <pc:spChg chg="add mod">
          <ac:chgData name="Yiqun Dai" userId="360a2182-b97f-4635-b990-04f846616e33" providerId="ADAL" clId="{8F04EA49-0EFC-48F3-A4D8-E0F0D3B461A8}" dt="2025-10-15T01:44:31.048" v="163069"/>
          <ac:spMkLst>
            <pc:docMk/>
            <pc:sldMk cId="1127474592" sldId="2147481939"/>
            <ac:spMk id="6" creationId="{993FCA52-1ADD-5EA5-7A06-2C46DB11CE27}"/>
          </ac:spMkLst>
        </pc:spChg>
        <pc:spChg chg="add mod">
          <ac:chgData name="Yiqun Dai" userId="360a2182-b97f-4635-b990-04f846616e33" providerId="ADAL" clId="{8F04EA49-0EFC-48F3-A4D8-E0F0D3B461A8}" dt="2025-10-15T01:44:31.048" v="163063"/>
          <ac:spMkLst>
            <pc:docMk/>
            <pc:sldMk cId="1127474592" sldId="2147481939"/>
            <ac:spMk id="7" creationId="{B4C791BE-80EC-D937-4648-F4DF2A510680}"/>
          </ac:spMkLst>
        </pc:spChg>
        <pc:spChg chg="add mod">
          <ac:chgData name="Yiqun Dai" userId="360a2182-b97f-4635-b990-04f846616e33" providerId="ADAL" clId="{8F04EA49-0EFC-48F3-A4D8-E0F0D3B461A8}" dt="2025-10-15T01:44:31.048" v="163075"/>
          <ac:spMkLst>
            <pc:docMk/>
            <pc:sldMk cId="1127474592" sldId="2147481939"/>
            <ac:spMk id="12" creationId="{6B8A434E-55D1-5339-5D55-FB79205015A6}"/>
          </ac:spMkLst>
        </pc:spChg>
        <pc:spChg chg="add mod">
          <ac:chgData name="Yiqun Dai" userId="360a2182-b97f-4635-b990-04f846616e33" providerId="ADAL" clId="{8F04EA49-0EFC-48F3-A4D8-E0F0D3B461A8}" dt="2025-10-15T01:44:31.048" v="163077"/>
          <ac:spMkLst>
            <pc:docMk/>
            <pc:sldMk cId="1127474592" sldId="2147481939"/>
            <ac:spMk id="13" creationId="{E4D325F5-48B7-4BEC-87DD-09D20DA4A068}"/>
          </ac:spMkLst>
        </pc:spChg>
        <pc:spChg chg="add mod">
          <ac:chgData name="Yiqun Dai" userId="360a2182-b97f-4635-b990-04f846616e33" providerId="ADAL" clId="{8F04EA49-0EFC-48F3-A4D8-E0F0D3B461A8}" dt="2025-10-15T01:44:31.064" v="163089"/>
          <ac:spMkLst>
            <pc:docMk/>
            <pc:sldMk cId="1127474592" sldId="2147481939"/>
            <ac:spMk id="14" creationId="{99487F63-586A-40EF-92A7-DCA070447BFC}"/>
          </ac:spMkLst>
        </pc:spChg>
        <pc:spChg chg="add mod">
          <ac:chgData name="Yiqun Dai" userId="360a2182-b97f-4635-b990-04f846616e33" providerId="ADAL" clId="{8F04EA49-0EFC-48F3-A4D8-E0F0D3B461A8}" dt="2025-10-15T01:44:31.048" v="163057"/>
          <ac:spMkLst>
            <pc:docMk/>
            <pc:sldMk cId="1127474592" sldId="2147481939"/>
            <ac:spMk id="15" creationId="{A7F4D10F-72EB-8427-113B-299F57C7EF9A}"/>
          </ac:spMkLst>
        </pc:spChg>
        <pc:spChg chg="add mod">
          <ac:chgData name="Yiqun Dai" userId="360a2182-b97f-4635-b990-04f846616e33" providerId="ADAL" clId="{8F04EA49-0EFC-48F3-A4D8-E0F0D3B461A8}" dt="2025-10-15T01:44:31.048" v="163058"/>
          <ac:spMkLst>
            <pc:docMk/>
            <pc:sldMk cId="1127474592" sldId="2147481939"/>
            <ac:spMk id="16" creationId="{0EEF8E75-5BEF-ED10-7F26-7A64E1F0DC2C}"/>
          </ac:spMkLst>
        </pc:spChg>
        <pc:spChg chg="add mod">
          <ac:chgData name="Yiqun Dai" userId="360a2182-b97f-4635-b990-04f846616e33" providerId="ADAL" clId="{8F04EA49-0EFC-48F3-A4D8-E0F0D3B461A8}" dt="2025-10-15T01:44:31.048" v="163060"/>
          <ac:spMkLst>
            <pc:docMk/>
            <pc:sldMk cId="1127474592" sldId="2147481939"/>
            <ac:spMk id="17" creationId="{DCF38184-9FBB-6A19-D1F8-D1EBF7E45F13}"/>
          </ac:spMkLst>
        </pc:spChg>
        <pc:spChg chg="add mod">
          <ac:chgData name="Yiqun Dai" userId="360a2182-b97f-4635-b990-04f846616e33" providerId="ADAL" clId="{8F04EA49-0EFC-48F3-A4D8-E0F0D3B461A8}" dt="2025-10-15T01:44:31.048" v="163062"/>
          <ac:spMkLst>
            <pc:docMk/>
            <pc:sldMk cId="1127474592" sldId="2147481939"/>
            <ac:spMk id="18" creationId="{20D33E6E-6508-8D07-851F-8AD47EFAF337}"/>
          </ac:spMkLst>
        </pc:spChg>
        <pc:spChg chg="add mod">
          <ac:chgData name="Yiqun Dai" userId="360a2182-b97f-4635-b990-04f846616e33" providerId="ADAL" clId="{8F04EA49-0EFC-48F3-A4D8-E0F0D3B461A8}" dt="2025-10-15T01:44:31.048" v="163067"/>
          <ac:spMkLst>
            <pc:docMk/>
            <pc:sldMk cId="1127474592" sldId="2147481939"/>
            <ac:spMk id="19" creationId="{9F8D5A01-7C9B-6F3E-4FFD-03847C823721}"/>
          </ac:spMkLst>
        </pc:spChg>
        <pc:spChg chg="add mod">
          <ac:chgData name="Yiqun Dai" userId="360a2182-b97f-4635-b990-04f846616e33" providerId="ADAL" clId="{8F04EA49-0EFC-48F3-A4D8-E0F0D3B461A8}" dt="2025-10-15T01:44:31.064" v="163085"/>
          <ac:spMkLst>
            <pc:docMk/>
            <pc:sldMk cId="1127474592" sldId="2147481939"/>
            <ac:spMk id="42" creationId="{DA5798EB-5BAB-3F75-0A68-609F888B01D3}"/>
          </ac:spMkLst>
        </pc:spChg>
        <pc:spChg chg="add mod">
          <ac:chgData name="Yiqun Dai" userId="360a2182-b97f-4635-b990-04f846616e33" providerId="ADAL" clId="{8F04EA49-0EFC-48F3-A4D8-E0F0D3B461A8}" dt="2025-10-15T01:44:31.064" v="163086"/>
          <ac:spMkLst>
            <pc:docMk/>
            <pc:sldMk cId="1127474592" sldId="2147481939"/>
            <ac:spMk id="48" creationId="{8EF8918C-724D-D42B-7D87-4DA4BE416BD8}"/>
          </ac:spMkLst>
        </pc:spChg>
        <pc:spChg chg="add mod ord">
          <ac:chgData name="Yiqun Dai" userId="360a2182-b97f-4635-b990-04f846616e33" providerId="ADAL" clId="{8F04EA49-0EFC-48F3-A4D8-E0F0D3B461A8}" dt="2025-10-15T01:44:41.523" v="163323" actId="948"/>
          <ac:spMkLst>
            <pc:docMk/>
            <pc:sldMk cId="1127474592" sldId="2147481939"/>
            <ac:spMk id="50" creationId="{6FEFABFF-CA94-DAA8-045F-8CC251D8EC33}"/>
          </ac:spMkLst>
        </pc:spChg>
        <pc:spChg chg="add mod">
          <ac:chgData name="Yiqun Dai" userId="360a2182-b97f-4635-b990-04f846616e33" providerId="ADAL" clId="{8F04EA49-0EFC-48F3-A4D8-E0F0D3B461A8}" dt="2025-10-15T01:44:31.064" v="163087"/>
          <ac:spMkLst>
            <pc:docMk/>
            <pc:sldMk cId="1127474592" sldId="2147481939"/>
            <ac:spMk id="51" creationId="{BCF82343-1429-6662-8CF4-B0643D1DD4E7}"/>
          </ac:spMkLst>
        </pc:spChg>
        <pc:spChg chg="add mod">
          <ac:chgData name="Yiqun Dai" userId="360a2182-b97f-4635-b990-04f846616e33" providerId="ADAL" clId="{8F04EA49-0EFC-48F3-A4D8-E0F0D3B461A8}" dt="2025-10-15T01:44:31.064" v="163084"/>
          <ac:spMkLst>
            <pc:docMk/>
            <pc:sldMk cId="1127474592" sldId="2147481939"/>
            <ac:spMk id="123" creationId="{EE0184A1-DB97-FE35-62A0-4DFFA06214D3}"/>
          </ac:spMkLst>
        </pc:spChg>
        <pc:spChg chg="add mod ord">
          <ac:chgData name="Yiqun Dai" userId="360a2182-b97f-4635-b990-04f846616e33" providerId="ADAL" clId="{8F04EA49-0EFC-48F3-A4D8-E0F0D3B461A8}" dt="2025-10-15T01:44:31.048" v="163065"/>
          <ac:spMkLst>
            <pc:docMk/>
            <pc:sldMk cId="1127474592" sldId="2147481939"/>
            <ac:spMk id="128" creationId="{3FAC2412-8895-C555-641F-9C3F16005793}"/>
          </ac:spMkLst>
        </pc:spChg>
        <pc:spChg chg="add mod ord">
          <ac:chgData name="Yiqun Dai" userId="360a2182-b97f-4635-b990-04f846616e33" providerId="ADAL" clId="{8F04EA49-0EFC-48F3-A4D8-E0F0D3B461A8}" dt="2025-10-15T01:44:31.048" v="163066"/>
          <ac:spMkLst>
            <pc:docMk/>
            <pc:sldMk cId="1127474592" sldId="2147481939"/>
            <ac:spMk id="129" creationId="{5F4DBA32-1B7D-1521-F2D6-E607E064FE32}"/>
          </ac:spMkLst>
        </pc:spChg>
        <pc:spChg chg="add mod ord">
          <ac:chgData name="Yiqun Dai" userId="360a2182-b97f-4635-b990-04f846616e33" providerId="ADAL" clId="{8F04EA49-0EFC-48F3-A4D8-E0F0D3B461A8}" dt="2025-10-15T01:44:31.048" v="163072"/>
          <ac:spMkLst>
            <pc:docMk/>
            <pc:sldMk cId="1127474592" sldId="2147481939"/>
            <ac:spMk id="204" creationId="{2D59A797-EFA5-70DD-7C4F-2FFAB6B11BCF}"/>
          </ac:spMkLst>
        </pc:spChg>
        <pc:spChg chg="add mod">
          <ac:chgData name="Yiqun Dai" userId="360a2182-b97f-4635-b990-04f846616e33" providerId="ADAL" clId="{8F04EA49-0EFC-48F3-A4D8-E0F0D3B461A8}" dt="2025-10-15T01:44:31.048" v="163071"/>
          <ac:spMkLst>
            <pc:docMk/>
            <pc:sldMk cId="1127474592" sldId="2147481939"/>
            <ac:spMk id="205" creationId="{2A10C5A3-C764-1476-915C-BD625640764C}"/>
          </ac:spMkLst>
        </pc:spChg>
        <pc:spChg chg="add mod">
          <ac:chgData name="Yiqun Dai" userId="360a2182-b97f-4635-b990-04f846616e33" providerId="ADAL" clId="{8F04EA49-0EFC-48F3-A4D8-E0F0D3B461A8}" dt="2025-10-15T01:44:31.064" v="163088"/>
          <ac:spMkLst>
            <pc:docMk/>
            <pc:sldMk cId="1127474592" sldId="2147481939"/>
            <ac:spMk id="213" creationId="{3E5416EB-1FB4-604B-80B4-403FBAC4CD49}"/>
          </ac:spMkLst>
        </pc:spChg>
        <pc:spChg chg="add mod ord">
          <ac:chgData name="Yiqun Dai" userId="360a2182-b97f-4635-b990-04f846616e33" providerId="ADAL" clId="{8F04EA49-0EFC-48F3-A4D8-E0F0D3B461A8}" dt="2025-10-15T01:44:41.620" v="163436"/>
          <ac:spMkLst>
            <pc:docMk/>
            <pc:sldMk cId="1127474592" sldId="2147481939"/>
            <ac:spMk id="337" creationId="{79A900D4-F3D4-542E-C48F-4C6CEB419F3B}"/>
          </ac:spMkLst>
        </pc:spChg>
        <pc:spChg chg="add mod ord">
          <ac:chgData name="Yiqun Dai" userId="360a2182-b97f-4635-b990-04f846616e33" providerId="ADAL" clId="{8F04EA49-0EFC-48F3-A4D8-E0F0D3B461A8}" dt="2025-10-15T01:44:41.460" v="163245" actId="948"/>
          <ac:spMkLst>
            <pc:docMk/>
            <pc:sldMk cId="1127474592" sldId="2147481939"/>
            <ac:spMk id="402" creationId="{48D35FDE-EB71-118C-FED9-329BEAFF5578}"/>
          </ac:spMkLst>
        </pc:spChg>
        <pc:spChg chg="add mod ord">
          <ac:chgData name="Yiqun Dai" userId="360a2182-b97f-4635-b990-04f846616e33" providerId="ADAL" clId="{8F04EA49-0EFC-48F3-A4D8-E0F0D3B461A8}" dt="2025-10-15T01:44:41.432" v="163191"/>
          <ac:spMkLst>
            <pc:docMk/>
            <pc:sldMk cId="1127474592" sldId="2147481939"/>
            <ac:spMk id="415" creationId="{39822FD6-4580-F198-4C74-73EE04AFF42C}"/>
          </ac:spMkLst>
        </pc:spChg>
        <pc:spChg chg="add mod ord">
          <ac:chgData name="Yiqun Dai" userId="360a2182-b97f-4635-b990-04f846616e33" providerId="ADAL" clId="{8F04EA49-0EFC-48F3-A4D8-E0F0D3B461A8}" dt="2025-10-15T01:44:41.432" v="163190"/>
          <ac:spMkLst>
            <pc:docMk/>
            <pc:sldMk cId="1127474592" sldId="2147481939"/>
            <ac:spMk id="424" creationId="{9D4269FB-2000-7B86-4B1B-FB80B6E5019F}"/>
          </ac:spMkLst>
        </pc:spChg>
        <pc:spChg chg="add mod">
          <ac:chgData name="Yiqun Dai" userId="360a2182-b97f-4635-b990-04f846616e33" providerId="ADAL" clId="{8F04EA49-0EFC-48F3-A4D8-E0F0D3B461A8}" dt="2025-10-15T01:04:18.477" v="150118" actId="164"/>
          <ac:spMkLst>
            <pc:docMk/>
            <pc:sldMk cId="1127474592" sldId="2147481939"/>
            <ac:spMk id="426" creationId="{24410E5E-6A24-945E-965B-8B4EB94282F4}"/>
          </ac:spMkLst>
        </pc:spChg>
        <pc:spChg chg="add mod">
          <ac:chgData name="Yiqun Dai" userId="360a2182-b97f-4635-b990-04f846616e33" providerId="ADAL" clId="{8F04EA49-0EFC-48F3-A4D8-E0F0D3B461A8}" dt="2025-10-15T01:04:18.477" v="150118" actId="164"/>
          <ac:spMkLst>
            <pc:docMk/>
            <pc:sldMk cId="1127474592" sldId="2147481939"/>
            <ac:spMk id="427" creationId="{F4A62D34-7DC6-5920-B331-7A298321D134}"/>
          </ac:spMkLst>
        </pc:spChg>
        <pc:spChg chg="mod">
          <ac:chgData name="Yiqun Dai" userId="360a2182-b97f-4635-b990-04f846616e33" providerId="ADAL" clId="{8F04EA49-0EFC-48F3-A4D8-E0F0D3B461A8}" dt="2025-10-15T01:04:45.067" v="150123" actId="571"/>
          <ac:spMkLst>
            <pc:docMk/>
            <pc:sldMk cId="1127474592" sldId="2147481939"/>
            <ac:spMk id="430" creationId="{6D9E195E-DD70-179E-4DAC-2DBD246EC66C}"/>
          </ac:spMkLst>
        </pc:spChg>
        <pc:spChg chg="mod">
          <ac:chgData name="Yiqun Dai" userId="360a2182-b97f-4635-b990-04f846616e33" providerId="ADAL" clId="{8F04EA49-0EFC-48F3-A4D8-E0F0D3B461A8}" dt="2025-10-15T01:04:50.095" v="150127" actId="20577"/>
          <ac:spMkLst>
            <pc:docMk/>
            <pc:sldMk cId="1127474592" sldId="2147481939"/>
            <ac:spMk id="431" creationId="{7A479A16-58DB-2BFF-8A38-50DF727F8FD2}"/>
          </ac:spMkLst>
        </pc:spChg>
        <pc:spChg chg="add mod ord">
          <ac:chgData name="Yiqun Dai" userId="360a2182-b97f-4635-b990-04f846616e33" providerId="ADAL" clId="{8F04EA49-0EFC-48F3-A4D8-E0F0D3B461A8}" dt="2025-10-15T01:44:41.620" v="163436"/>
          <ac:spMkLst>
            <pc:docMk/>
            <pc:sldMk cId="1127474592" sldId="2147481939"/>
            <ac:spMk id="432" creationId="{2C407243-E523-37F1-6369-8DC5628AEA5A}"/>
          </ac:spMkLst>
        </pc:spChg>
        <pc:spChg chg="add mod ord">
          <ac:chgData name="Yiqun Dai" userId="360a2182-b97f-4635-b990-04f846616e33" providerId="ADAL" clId="{8F04EA49-0EFC-48F3-A4D8-E0F0D3B461A8}" dt="2025-10-15T01:44:41.620" v="163436"/>
          <ac:spMkLst>
            <pc:docMk/>
            <pc:sldMk cId="1127474592" sldId="2147481939"/>
            <ac:spMk id="494" creationId="{853549F4-217C-F8DF-D187-DEE1C19A1D17}"/>
          </ac:spMkLst>
        </pc:spChg>
        <pc:spChg chg="add mod ord">
          <ac:chgData name="Yiqun Dai" userId="360a2182-b97f-4635-b990-04f846616e33" providerId="ADAL" clId="{8F04EA49-0EFC-48F3-A4D8-E0F0D3B461A8}" dt="2025-10-15T01:44:41.432" v="163185"/>
          <ac:spMkLst>
            <pc:docMk/>
            <pc:sldMk cId="1127474592" sldId="2147481939"/>
            <ac:spMk id="495" creationId="{808612A2-5C42-9238-CC21-C1D1F3E2EF87}"/>
          </ac:spMkLst>
        </pc:spChg>
        <pc:spChg chg="add mod">
          <ac:chgData name="Yiqun Dai" userId="360a2182-b97f-4635-b990-04f846616e33" providerId="ADAL" clId="{8F04EA49-0EFC-48F3-A4D8-E0F0D3B461A8}" dt="2025-10-15T01:44:31.048" v="163068"/>
          <ac:spMkLst>
            <pc:docMk/>
            <pc:sldMk cId="1127474592" sldId="2147481939"/>
            <ac:spMk id="525" creationId="{3B73D6C7-C473-B6F1-3C18-5724852AF0BD}"/>
          </ac:spMkLst>
        </pc:spChg>
        <pc:spChg chg="add mod">
          <ac:chgData name="Yiqun Dai" userId="360a2182-b97f-4635-b990-04f846616e33" providerId="ADAL" clId="{8F04EA49-0EFC-48F3-A4D8-E0F0D3B461A8}" dt="2025-10-15T01:44:31.048" v="163070"/>
          <ac:spMkLst>
            <pc:docMk/>
            <pc:sldMk cId="1127474592" sldId="2147481939"/>
            <ac:spMk id="526" creationId="{D73001B4-3809-F824-0190-7E90213C017B}"/>
          </ac:spMkLst>
        </pc:spChg>
        <pc:spChg chg="add mod ord">
          <ac:chgData name="Yiqun Dai" userId="360a2182-b97f-4635-b990-04f846616e33" providerId="ADAL" clId="{8F04EA49-0EFC-48F3-A4D8-E0F0D3B461A8}" dt="2025-10-15T01:44:41.539" v="163351" actId="948"/>
          <ac:spMkLst>
            <pc:docMk/>
            <pc:sldMk cId="1127474592" sldId="2147481939"/>
            <ac:spMk id="527" creationId="{A2E0FF11-27B4-BECB-16AF-4EB142CF72C1}"/>
          </ac:spMkLst>
        </pc:spChg>
        <pc:spChg chg="add mod">
          <ac:chgData name="Yiqun Dai" userId="360a2182-b97f-4635-b990-04f846616e33" providerId="ADAL" clId="{8F04EA49-0EFC-48F3-A4D8-E0F0D3B461A8}" dt="2025-10-15T01:44:31.048" v="163076"/>
          <ac:spMkLst>
            <pc:docMk/>
            <pc:sldMk cId="1127474592" sldId="2147481939"/>
            <ac:spMk id="528" creationId="{87DF3770-3B10-9D6D-3B6D-526F8F143282}"/>
          </ac:spMkLst>
        </pc:spChg>
        <pc:spChg chg="add mod ord">
          <ac:chgData name="Yiqun Dai" userId="360a2182-b97f-4635-b990-04f846616e33" providerId="ADAL" clId="{8F04EA49-0EFC-48F3-A4D8-E0F0D3B461A8}" dt="2025-10-15T01:44:41.523" v="163319" actId="948"/>
          <ac:spMkLst>
            <pc:docMk/>
            <pc:sldMk cId="1127474592" sldId="2147481939"/>
            <ac:spMk id="529" creationId="{611E07BA-3709-7FA4-2259-D209DA160310}"/>
          </ac:spMkLst>
        </pc:spChg>
        <pc:spChg chg="add mod ord">
          <ac:chgData name="Yiqun Dai" userId="360a2182-b97f-4635-b990-04f846616e33" providerId="ADAL" clId="{8F04EA49-0EFC-48F3-A4D8-E0F0D3B461A8}" dt="2025-10-15T01:44:41.620" v="163436"/>
          <ac:spMkLst>
            <pc:docMk/>
            <pc:sldMk cId="1127474592" sldId="2147481939"/>
            <ac:spMk id="530" creationId="{687033B9-61BE-A4B0-063D-40ED1113AE7F}"/>
          </ac:spMkLst>
        </pc:spChg>
        <pc:spChg chg="add mod ord">
          <ac:chgData name="Yiqun Dai" userId="360a2182-b97f-4635-b990-04f846616e33" providerId="ADAL" clId="{8F04EA49-0EFC-48F3-A4D8-E0F0D3B461A8}" dt="2025-10-15T01:44:41.492" v="163291" actId="948"/>
          <ac:spMkLst>
            <pc:docMk/>
            <pc:sldMk cId="1127474592" sldId="2147481939"/>
            <ac:spMk id="531" creationId="{E91D418C-9F7C-10E0-B3DC-C0D03C2985BA}"/>
          </ac:spMkLst>
        </pc:spChg>
        <pc:spChg chg="add mod">
          <ac:chgData name="Yiqun Dai" userId="360a2182-b97f-4635-b990-04f846616e33" providerId="ADAL" clId="{8F04EA49-0EFC-48F3-A4D8-E0F0D3B461A8}" dt="2025-10-15T01:44:31.048" v="163059"/>
          <ac:spMkLst>
            <pc:docMk/>
            <pc:sldMk cId="1127474592" sldId="2147481939"/>
            <ac:spMk id="532" creationId="{FB86907F-054E-C702-F325-F7F41A68FE4C}"/>
          </ac:spMkLst>
        </pc:spChg>
        <pc:spChg chg="add mod">
          <ac:chgData name="Yiqun Dai" userId="360a2182-b97f-4635-b990-04f846616e33" providerId="ADAL" clId="{8F04EA49-0EFC-48F3-A4D8-E0F0D3B461A8}" dt="2025-10-15T01:44:31.048" v="163061"/>
          <ac:spMkLst>
            <pc:docMk/>
            <pc:sldMk cId="1127474592" sldId="2147481939"/>
            <ac:spMk id="533" creationId="{706985B3-BF14-6126-4ABE-4C33E0276798}"/>
          </ac:spMkLst>
        </pc:spChg>
        <pc:spChg chg="add mod">
          <ac:chgData name="Yiqun Dai" userId="360a2182-b97f-4635-b990-04f846616e33" providerId="ADAL" clId="{8F04EA49-0EFC-48F3-A4D8-E0F0D3B461A8}" dt="2025-10-15T02:25:54.164" v="169954"/>
          <ac:spMkLst>
            <pc:docMk/>
            <pc:sldMk cId="1127474592" sldId="2147481939"/>
            <ac:spMk id="537" creationId="{9AB59643-A3D3-2609-DF42-348ECD0C3155}"/>
          </ac:spMkLst>
        </pc:spChg>
        <pc:spChg chg="add mod">
          <ac:chgData name="Yiqun Dai" userId="360a2182-b97f-4635-b990-04f846616e33" providerId="ADAL" clId="{8F04EA49-0EFC-48F3-A4D8-E0F0D3B461A8}" dt="2025-10-15T02:25:54.133" v="169894"/>
          <ac:spMkLst>
            <pc:docMk/>
            <pc:sldMk cId="1127474592" sldId="2147481939"/>
            <ac:spMk id="539" creationId="{EAE62DDB-18FE-65E2-E046-05F81F2221C7}"/>
          </ac:spMkLst>
        </pc:spChg>
        <pc:spChg chg="add mod">
          <ac:chgData name="Yiqun Dai" userId="360a2182-b97f-4635-b990-04f846616e33" providerId="ADAL" clId="{8F04EA49-0EFC-48F3-A4D8-E0F0D3B461A8}" dt="2025-10-15T02:25:54.133" v="169906"/>
          <ac:spMkLst>
            <pc:docMk/>
            <pc:sldMk cId="1127474592" sldId="2147481939"/>
            <ac:spMk id="541" creationId="{83FEE2C8-87BE-9E60-DA19-A9837C67FF6B}"/>
          </ac:spMkLst>
        </pc:spChg>
        <pc:spChg chg="add mod">
          <ac:chgData name="Yiqun Dai" userId="360a2182-b97f-4635-b990-04f846616e33" providerId="ADAL" clId="{8F04EA49-0EFC-48F3-A4D8-E0F0D3B461A8}" dt="2025-10-15T02:25:54.133" v="169918"/>
          <ac:spMkLst>
            <pc:docMk/>
            <pc:sldMk cId="1127474592" sldId="2147481939"/>
            <ac:spMk id="542" creationId="{FE63276F-08E0-BAD1-A17F-B6A2BDC4B02E}"/>
          </ac:spMkLst>
        </pc:spChg>
        <pc:spChg chg="add mod">
          <ac:chgData name="Yiqun Dai" userId="360a2182-b97f-4635-b990-04f846616e33" providerId="ADAL" clId="{8F04EA49-0EFC-48F3-A4D8-E0F0D3B461A8}" dt="2025-10-15T02:25:54.149" v="169930"/>
          <ac:spMkLst>
            <pc:docMk/>
            <pc:sldMk cId="1127474592" sldId="2147481939"/>
            <ac:spMk id="543" creationId="{89CE1E3D-8B23-5349-63BC-75A20B690E51}"/>
          </ac:spMkLst>
        </pc:spChg>
        <pc:spChg chg="add mod">
          <ac:chgData name="Yiqun Dai" userId="360a2182-b97f-4635-b990-04f846616e33" providerId="ADAL" clId="{8F04EA49-0EFC-48F3-A4D8-E0F0D3B461A8}" dt="2025-10-15T02:25:54.149" v="169942"/>
          <ac:spMkLst>
            <pc:docMk/>
            <pc:sldMk cId="1127474592" sldId="2147481939"/>
            <ac:spMk id="545" creationId="{57D37236-7AC6-C090-F70A-8A6450ECEAF5}"/>
          </ac:spMkLst>
        </pc:spChg>
        <pc:spChg chg="add mod ord">
          <ac:chgData name="Yiqun Dai" userId="360a2182-b97f-4635-b990-04f846616e33" providerId="ADAL" clId="{8F04EA49-0EFC-48F3-A4D8-E0F0D3B461A8}" dt="2025-10-15T02:25:54.130" v="169890"/>
          <ac:spMkLst>
            <pc:docMk/>
            <pc:sldMk cId="1127474592" sldId="2147481939"/>
            <ac:spMk id="552" creationId="{B25DAF31-FEBC-AD51-4D70-40BC36C651A4}"/>
          </ac:spMkLst>
        </pc:spChg>
        <pc:spChg chg="add mod ord">
          <ac:chgData name="Yiqun Dai" userId="360a2182-b97f-4635-b990-04f846616e33" providerId="ADAL" clId="{8F04EA49-0EFC-48F3-A4D8-E0F0D3B461A8}" dt="2025-10-15T02:25:54.133" v="169902"/>
          <ac:spMkLst>
            <pc:docMk/>
            <pc:sldMk cId="1127474592" sldId="2147481939"/>
            <ac:spMk id="553" creationId="{64DE9F1B-6EA2-E24C-B213-4245C77BA4D5}"/>
          </ac:spMkLst>
        </pc:spChg>
        <pc:spChg chg="add mod ord">
          <ac:chgData name="Yiqun Dai" userId="360a2182-b97f-4635-b990-04f846616e33" providerId="ADAL" clId="{8F04EA49-0EFC-48F3-A4D8-E0F0D3B461A8}" dt="2025-10-15T02:25:54.133" v="169914"/>
          <ac:spMkLst>
            <pc:docMk/>
            <pc:sldMk cId="1127474592" sldId="2147481939"/>
            <ac:spMk id="554" creationId="{10B568C7-F87E-E14C-5B87-E14F1104F4B2}"/>
          </ac:spMkLst>
        </pc:spChg>
        <pc:spChg chg="add mod ord">
          <ac:chgData name="Yiqun Dai" userId="360a2182-b97f-4635-b990-04f846616e33" providerId="ADAL" clId="{8F04EA49-0EFC-48F3-A4D8-E0F0D3B461A8}" dt="2025-10-15T02:25:54.149" v="169926"/>
          <ac:spMkLst>
            <pc:docMk/>
            <pc:sldMk cId="1127474592" sldId="2147481939"/>
            <ac:spMk id="556" creationId="{109E2B23-95AB-A7EA-1ED4-2EF4473CAC4C}"/>
          </ac:spMkLst>
        </pc:spChg>
        <pc:spChg chg="add mod ord">
          <ac:chgData name="Yiqun Dai" userId="360a2182-b97f-4635-b990-04f846616e33" providerId="ADAL" clId="{8F04EA49-0EFC-48F3-A4D8-E0F0D3B461A8}" dt="2025-10-15T02:25:54.149" v="169938"/>
          <ac:spMkLst>
            <pc:docMk/>
            <pc:sldMk cId="1127474592" sldId="2147481939"/>
            <ac:spMk id="557" creationId="{B11ED820-6DE4-3EED-1161-D06F564C5DB1}"/>
          </ac:spMkLst>
        </pc:spChg>
        <pc:spChg chg="add mod ord">
          <ac:chgData name="Yiqun Dai" userId="360a2182-b97f-4635-b990-04f846616e33" providerId="ADAL" clId="{8F04EA49-0EFC-48F3-A4D8-E0F0D3B461A8}" dt="2025-10-15T02:25:54.149" v="169950"/>
          <ac:spMkLst>
            <pc:docMk/>
            <pc:sldMk cId="1127474592" sldId="2147481939"/>
            <ac:spMk id="558" creationId="{48EADC9D-D118-1740-A7E1-9AFAA988FCB6}"/>
          </ac:spMkLst>
        </pc:spChg>
        <pc:spChg chg="add mod ord">
          <ac:chgData name="Yiqun Dai" userId="360a2182-b97f-4635-b990-04f846616e33" providerId="ADAL" clId="{8F04EA49-0EFC-48F3-A4D8-E0F0D3B461A8}" dt="2025-10-15T01:44:41.620" v="163436"/>
          <ac:spMkLst>
            <pc:docMk/>
            <pc:sldMk cId="1127474592" sldId="2147481939"/>
            <ac:spMk id="585" creationId="{A7A1C256-4016-67EE-A216-68D59BC7056D}"/>
          </ac:spMkLst>
        </pc:spChg>
        <pc:grpChg chg="add mod ord">
          <ac:chgData name="Yiqun Dai" userId="360a2182-b97f-4635-b990-04f846616e33" providerId="ADAL" clId="{8F04EA49-0EFC-48F3-A4D8-E0F0D3B461A8}" dt="2025-10-15T01:44:41.432" v="163189"/>
          <ac:grpSpMkLst>
            <pc:docMk/>
            <pc:sldMk cId="1127474592" sldId="2147481939"/>
            <ac:grpSpMk id="428" creationId="{8DA780AC-6174-12BD-280D-CD5AFD667E6D}"/>
          </ac:grpSpMkLst>
        </pc:grpChg>
        <pc:grpChg chg="add mod ord">
          <ac:chgData name="Yiqun Dai" userId="360a2182-b97f-4635-b990-04f846616e33" providerId="ADAL" clId="{8F04EA49-0EFC-48F3-A4D8-E0F0D3B461A8}" dt="2025-10-15T01:44:41.432" v="163188"/>
          <ac:grpSpMkLst>
            <pc:docMk/>
            <pc:sldMk cId="1127474592" sldId="2147481939"/>
            <ac:grpSpMk id="429" creationId="{4CC81ECA-A5DB-C250-C8F5-9F75709B890B}"/>
          </ac:grpSpMkLst>
        </pc:grpChg>
        <pc:graphicFrameChg chg="add mod ord modVis">
          <ac:chgData name="Yiqun Dai" userId="360a2182-b97f-4635-b990-04f846616e33" providerId="ADAL" clId="{8F04EA49-0EFC-48F3-A4D8-E0F0D3B461A8}" dt="2025-10-15T02:25:54.164" v="169956"/>
          <ac:graphicFrameMkLst>
            <pc:docMk/>
            <pc:sldMk cId="1127474592" sldId="2147481939"/>
            <ac:graphicFrameMk id="11" creationId="{A56A0D5A-391B-69E3-A729-7B3273E1644F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0-15T01:44:41.432" v="163192"/>
          <ac:graphicFrameMkLst>
            <pc:docMk/>
            <pc:sldMk cId="1127474592" sldId="2147481939"/>
            <ac:graphicFrameMk id="336" creationId="{20D5A740-3B68-8BE2-F572-230D378250A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0-15T01:44:41.444" v="163220" actId="478"/>
          <ac:graphicFrameMkLst>
            <pc:docMk/>
            <pc:sldMk cId="1127474592" sldId="2147481939"/>
            <ac:graphicFrameMk id="584" creationId="{E745F375-AAB7-46CA-B269-8EE4EBA100A9}"/>
          </ac:graphicFrameMkLst>
        </pc:graphicFrameChg>
        <pc:cxnChg chg="add mod ord">
          <ac:chgData name="Yiqun Dai" userId="360a2182-b97f-4635-b990-04f846616e33" providerId="ADAL" clId="{8F04EA49-0EFC-48F3-A4D8-E0F0D3B461A8}" dt="2025-10-15T01:44:41.444" v="163215"/>
          <ac:cxnSpMkLst>
            <pc:docMk/>
            <pc:sldMk cId="1127474592" sldId="2147481939"/>
            <ac:cxnSpMk id="8" creationId="{DF26B202-8327-D550-47BD-B65C872EAFCB}"/>
          </ac:cxnSpMkLst>
        </pc:cxnChg>
        <pc:cxnChg chg="add mod ord">
          <ac:chgData name="Yiqun Dai" userId="360a2182-b97f-4635-b990-04f846616e33" providerId="ADAL" clId="{8F04EA49-0EFC-48F3-A4D8-E0F0D3B461A8}" dt="2025-10-15T01:44:41.444" v="163214"/>
          <ac:cxnSpMkLst>
            <pc:docMk/>
            <pc:sldMk cId="1127474592" sldId="2147481939"/>
            <ac:cxnSpMk id="9" creationId="{D2A3D008-B4A1-E350-F512-27CD52F3330C}"/>
          </ac:cxnSpMkLst>
        </pc:cxnChg>
        <pc:cxnChg chg="add mod ord">
          <ac:chgData name="Yiqun Dai" userId="360a2182-b97f-4635-b990-04f846616e33" providerId="ADAL" clId="{8F04EA49-0EFC-48F3-A4D8-E0F0D3B461A8}" dt="2025-10-15T01:44:41.444" v="163209"/>
          <ac:cxnSpMkLst>
            <pc:docMk/>
            <pc:sldMk cId="1127474592" sldId="2147481939"/>
            <ac:cxnSpMk id="35" creationId="{CAF8DCDF-DA63-D923-90EA-7F1F236A1CF0}"/>
          </ac:cxnSpMkLst>
        </pc:cxnChg>
        <pc:cxnChg chg="add mod ord">
          <ac:chgData name="Yiqun Dai" userId="360a2182-b97f-4635-b990-04f846616e33" providerId="ADAL" clId="{8F04EA49-0EFC-48F3-A4D8-E0F0D3B461A8}" dt="2025-10-15T01:44:41.444" v="163208"/>
          <ac:cxnSpMkLst>
            <pc:docMk/>
            <pc:sldMk cId="1127474592" sldId="2147481939"/>
            <ac:cxnSpMk id="36" creationId="{7F2A01F5-6A4A-23D2-D7C7-14E2E87583F9}"/>
          </ac:cxnSpMkLst>
        </pc:cxnChg>
        <pc:cxnChg chg="add mod ord">
          <ac:chgData name="Yiqun Dai" userId="360a2182-b97f-4635-b990-04f846616e33" providerId="ADAL" clId="{8F04EA49-0EFC-48F3-A4D8-E0F0D3B461A8}" dt="2025-10-15T01:44:41.444" v="163207"/>
          <ac:cxnSpMkLst>
            <pc:docMk/>
            <pc:sldMk cId="1127474592" sldId="2147481939"/>
            <ac:cxnSpMk id="37" creationId="{CF05473C-153D-2F7E-D468-B2ED9950CED0}"/>
          </ac:cxnSpMkLst>
        </pc:cxnChg>
        <pc:cxnChg chg="add mod ord">
          <ac:chgData name="Yiqun Dai" userId="360a2182-b97f-4635-b990-04f846616e33" providerId="ADAL" clId="{8F04EA49-0EFC-48F3-A4D8-E0F0D3B461A8}" dt="2025-10-15T01:44:41.444" v="163216"/>
          <ac:cxnSpMkLst>
            <pc:docMk/>
            <pc:sldMk cId="1127474592" sldId="2147481939"/>
            <ac:cxnSpMk id="38" creationId="{8791E2E9-66BC-8625-519F-04AA52F9E70C}"/>
          </ac:cxnSpMkLst>
        </pc:cxnChg>
        <pc:cxnChg chg="add mod ord">
          <ac:chgData name="Yiqun Dai" userId="360a2182-b97f-4635-b990-04f846616e33" providerId="ADAL" clId="{8F04EA49-0EFC-48F3-A4D8-E0F0D3B461A8}" dt="2025-10-15T01:44:41.444" v="163213"/>
          <ac:cxnSpMkLst>
            <pc:docMk/>
            <pc:sldMk cId="1127474592" sldId="2147481939"/>
            <ac:cxnSpMk id="144" creationId="{CB06E821-E008-4BC1-F69F-447D311344DD}"/>
          </ac:cxnSpMkLst>
        </pc:cxnChg>
        <pc:cxnChg chg="add mod ord">
          <ac:chgData name="Yiqun Dai" userId="360a2182-b97f-4635-b990-04f846616e33" providerId="ADAL" clId="{8F04EA49-0EFC-48F3-A4D8-E0F0D3B461A8}" dt="2025-10-15T01:44:41.444" v="163212"/>
          <ac:cxnSpMkLst>
            <pc:docMk/>
            <pc:sldMk cId="1127474592" sldId="2147481939"/>
            <ac:cxnSpMk id="145" creationId="{2C30F77F-1543-C13B-8D03-E03D5BFC26CE}"/>
          </ac:cxnSpMkLst>
        </pc:cxnChg>
        <pc:cxnChg chg="add mod ord">
          <ac:chgData name="Yiqun Dai" userId="360a2182-b97f-4635-b990-04f846616e33" providerId="ADAL" clId="{8F04EA49-0EFC-48F3-A4D8-E0F0D3B461A8}" dt="2025-10-15T01:44:41.444" v="163211"/>
          <ac:cxnSpMkLst>
            <pc:docMk/>
            <pc:sldMk cId="1127474592" sldId="2147481939"/>
            <ac:cxnSpMk id="146" creationId="{742109EA-D9DA-1823-351C-17084C439431}"/>
          </ac:cxnSpMkLst>
        </pc:cxnChg>
        <pc:cxnChg chg="add mod ord">
          <ac:chgData name="Yiqun Dai" userId="360a2182-b97f-4635-b990-04f846616e33" providerId="ADAL" clId="{8F04EA49-0EFC-48F3-A4D8-E0F0D3B461A8}" dt="2025-10-15T01:44:41.444" v="163210"/>
          <ac:cxnSpMkLst>
            <pc:docMk/>
            <pc:sldMk cId="1127474592" sldId="2147481939"/>
            <ac:cxnSpMk id="147" creationId="{85C07E50-6EEA-C14F-8DB2-E5B54AB4B44C}"/>
          </ac:cxnSpMkLst>
        </pc:cxnChg>
        <pc:cxnChg chg="add mod ord">
          <ac:chgData name="Yiqun Dai" userId="360a2182-b97f-4635-b990-04f846616e33" providerId="ADAL" clId="{8F04EA49-0EFC-48F3-A4D8-E0F0D3B461A8}" dt="2025-10-15T01:44:41.444" v="163232" actId="1582"/>
          <ac:cxnSpMkLst>
            <pc:docMk/>
            <pc:sldMk cId="1127474592" sldId="2147481939"/>
            <ac:cxnSpMk id="339" creationId="{6216A03E-1F4D-D99E-8866-1190A4F99EE9}"/>
          </ac:cxnSpMkLst>
        </pc:cxnChg>
        <pc:cxnChg chg="add mod ord">
          <ac:chgData name="Yiqun Dai" userId="360a2182-b97f-4635-b990-04f846616e33" providerId="ADAL" clId="{8F04EA49-0EFC-48F3-A4D8-E0F0D3B461A8}" dt="2025-10-15T01:44:41.444" v="163228" actId="1582"/>
          <ac:cxnSpMkLst>
            <pc:docMk/>
            <pc:sldMk cId="1127474592" sldId="2147481939"/>
            <ac:cxnSpMk id="340" creationId="{8C672291-03F6-C144-F769-79366A8EEFB2}"/>
          </ac:cxnSpMkLst>
        </pc:cxnChg>
        <pc:cxnChg chg="add mod ord">
          <ac:chgData name="Yiqun Dai" userId="360a2182-b97f-4635-b990-04f846616e33" providerId="ADAL" clId="{8F04EA49-0EFC-48F3-A4D8-E0F0D3B461A8}" dt="2025-10-15T01:44:41.444" v="163224" actId="1582"/>
          <ac:cxnSpMkLst>
            <pc:docMk/>
            <pc:sldMk cId="1127474592" sldId="2147481939"/>
            <ac:cxnSpMk id="341" creationId="{1CFC83CB-A800-A23D-D94C-2C92900D1E0B}"/>
          </ac:cxnSpMkLst>
        </pc:cxnChg>
        <pc:cxnChg chg="add mod ord">
          <ac:chgData name="Yiqun Dai" userId="360a2182-b97f-4635-b990-04f846616e33" providerId="ADAL" clId="{8F04EA49-0EFC-48F3-A4D8-E0F0D3B461A8}" dt="2025-10-15T01:44:41.460" v="163244" actId="1582"/>
          <ac:cxnSpMkLst>
            <pc:docMk/>
            <pc:sldMk cId="1127474592" sldId="2147481939"/>
            <ac:cxnSpMk id="404" creationId="{10C2017C-92A5-F8E8-CB25-6E5A9C92D8E3}"/>
          </ac:cxnSpMkLst>
        </pc:cxnChg>
        <pc:cxnChg chg="add mod ord">
          <ac:chgData name="Yiqun Dai" userId="360a2182-b97f-4635-b990-04f846616e33" providerId="ADAL" clId="{8F04EA49-0EFC-48F3-A4D8-E0F0D3B461A8}" dt="2025-10-15T01:44:41.444" v="163240" actId="1582"/>
          <ac:cxnSpMkLst>
            <pc:docMk/>
            <pc:sldMk cId="1127474592" sldId="2147481939"/>
            <ac:cxnSpMk id="405" creationId="{96912A09-ECB5-04E9-E105-7D881A2219F8}"/>
          </ac:cxnSpMkLst>
        </pc:cxnChg>
        <pc:cxnChg chg="add mod ord">
          <ac:chgData name="Yiqun Dai" userId="360a2182-b97f-4635-b990-04f846616e33" providerId="ADAL" clId="{8F04EA49-0EFC-48F3-A4D8-E0F0D3B461A8}" dt="2025-10-15T01:44:41.444" v="163236" actId="1582"/>
          <ac:cxnSpMkLst>
            <pc:docMk/>
            <pc:sldMk cId="1127474592" sldId="2147481939"/>
            <ac:cxnSpMk id="406" creationId="{6593766B-0CB1-94D5-4AD3-9749AF2E307E}"/>
          </ac:cxnSpMkLst>
        </pc:cxnChg>
      </pc:sldChg>
      <pc:sldChg chg="addSp delSp modSp add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4227280310" sldId="2147481940"/>
        </pc:sldMkLst>
        <pc:spChg chg="mod">
          <ac:chgData name="Yiqun Dai" userId="360a2182-b97f-4635-b990-04f846616e33" providerId="ADAL" clId="{8F04EA49-0EFC-48F3-A4D8-E0F0D3B461A8}" dt="2025-10-15T03:02:26.636" v="181685"/>
          <ac:spMkLst>
            <pc:docMk/>
            <pc:sldMk cId="4227280310" sldId="2147481940"/>
            <ac:spMk id="4" creationId="{5BC4E40C-32AA-1DC5-B15F-6C49224EE807}"/>
          </ac:spMkLst>
        </pc:spChg>
        <pc:spChg chg="mod">
          <ac:chgData name="Yiqun Dai" userId="360a2182-b97f-4635-b990-04f846616e33" providerId="ADAL" clId="{8F04EA49-0EFC-48F3-A4D8-E0F0D3B461A8}" dt="2025-10-15T03:02:26.652" v="181689"/>
          <ac:spMkLst>
            <pc:docMk/>
            <pc:sldMk cId="4227280310" sldId="2147481940"/>
            <ac:spMk id="6" creationId="{D33CA207-B7DE-0ACF-63C6-FE4B36850C05}"/>
          </ac:spMkLst>
        </pc:spChg>
        <pc:spChg chg="mod">
          <ac:chgData name="Yiqun Dai" userId="360a2182-b97f-4635-b990-04f846616e33" providerId="ADAL" clId="{8F04EA49-0EFC-48F3-A4D8-E0F0D3B461A8}" dt="2025-10-15T03:02:26.652" v="181691"/>
          <ac:spMkLst>
            <pc:docMk/>
            <pc:sldMk cId="4227280310" sldId="2147481940"/>
            <ac:spMk id="7" creationId="{D967F750-9B65-E7DB-67F7-BE4FEF1F3E9E}"/>
          </ac:spMkLst>
        </pc:spChg>
        <pc:spChg chg="mod">
          <ac:chgData name="Yiqun Dai" userId="360a2182-b97f-4635-b990-04f846616e33" providerId="ADAL" clId="{8F04EA49-0EFC-48F3-A4D8-E0F0D3B461A8}" dt="2025-10-15T03:02:26.652" v="181696"/>
          <ac:spMkLst>
            <pc:docMk/>
            <pc:sldMk cId="4227280310" sldId="2147481940"/>
            <ac:spMk id="12" creationId="{3EC5617C-56FE-B62A-E686-2663E03EC74F}"/>
          </ac:spMkLst>
        </pc:spChg>
        <pc:spChg chg="mod">
          <ac:chgData name="Yiqun Dai" userId="360a2182-b97f-4635-b990-04f846616e33" providerId="ADAL" clId="{8F04EA49-0EFC-48F3-A4D8-E0F0D3B461A8}" dt="2025-10-15T03:02:26.636" v="181680"/>
          <ac:spMkLst>
            <pc:docMk/>
            <pc:sldMk cId="4227280310" sldId="2147481940"/>
            <ac:spMk id="13" creationId="{044CC81A-DFFE-D829-655A-E18A0C33C0F5}"/>
          </ac:spMkLst>
        </pc:spChg>
        <pc:spChg chg="mod">
          <ac:chgData name="Yiqun Dai" userId="360a2182-b97f-4635-b990-04f846616e33" providerId="ADAL" clId="{8F04EA49-0EFC-48F3-A4D8-E0F0D3B461A8}" dt="2025-10-15T03:02:26.636" v="181681"/>
          <ac:spMkLst>
            <pc:docMk/>
            <pc:sldMk cId="4227280310" sldId="2147481940"/>
            <ac:spMk id="14" creationId="{4D1B0D75-E833-8BE9-1CD4-844A791BBF5D}"/>
          </ac:spMkLst>
        </pc:spChg>
        <pc:spChg chg="mod">
          <ac:chgData name="Yiqun Dai" userId="360a2182-b97f-4635-b990-04f846616e33" providerId="ADAL" clId="{8F04EA49-0EFC-48F3-A4D8-E0F0D3B461A8}" dt="2025-10-15T03:02:26.636" v="181683"/>
          <ac:spMkLst>
            <pc:docMk/>
            <pc:sldMk cId="4227280310" sldId="2147481940"/>
            <ac:spMk id="15" creationId="{5EF7A435-319B-DE99-2AD7-7922D1336867}"/>
          </ac:spMkLst>
        </pc:spChg>
        <pc:spChg chg="mod">
          <ac:chgData name="Yiqun Dai" userId="360a2182-b97f-4635-b990-04f846616e33" providerId="ADAL" clId="{8F04EA49-0EFC-48F3-A4D8-E0F0D3B461A8}" dt="2025-10-15T03:02:26.636" v="181684"/>
          <ac:spMkLst>
            <pc:docMk/>
            <pc:sldMk cId="4227280310" sldId="2147481940"/>
            <ac:spMk id="16" creationId="{D015F82A-7BBB-EB77-09A0-FD3263DB036D}"/>
          </ac:spMkLst>
        </pc:spChg>
        <pc:spChg chg="add mod">
          <ac:chgData name="Yiqun Dai" userId="360a2182-b97f-4635-b990-04f846616e33" providerId="ADAL" clId="{8F04EA49-0EFC-48F3-A4D8-E0F0D3B461A8}" dt="2025-10-15T03:02:26.636" v="181682"/>
          <ac:spMkLst>
            <pc:docMk/>
            <pc:sldMk cId="4227280310" sldId="2147481940"/>
            <ac:spMk id="23" creationId="{ACD0DE1C-38DB-B4F6-A659-BE9BE489AFE1}"/>
          </ac:spMkLst>
        </pc:spChg>
        <pc:spChg chg="add mod">
          <ac:chgData name="Yiqun Dai" userId="360a2182-b97f-4635-b990-04f846616e33" providerId="ADAL" clId="{8F04EA49-0EFC-48F3-A4D8-E0F0D3B461A8}" dt="2025-10-15T03:02:26.652" v="181700"/>
          <ac:spMkLst>
            <pc:docMk/>
            <pc:sldMk cId="4227280310" sldId="2147481940"/>
            <ac:spMk id="25" creationId="{29DE8391-B0BB-9E6A-1ACC-39571BB4FAE5}"/>
          </ac:spMkLst>
        </pc:spChg>
        <pc:spChg chg="mod">
          <ac:chgData name="Yiqun Dai" userId="360a2182-b97f-4635-b990-04f846616e33" providerId="ADAL" clId="{8F04EA49-0EFC-48F3-A4D8-E0F0D3B461A8}" dt="2025-10-15T03:02:26.652" v="181698"/>
          <ac:spMkLst>
            <pc:docMk/>
            <pc:sldMk cId="4227280310" sldId="2147481940"/>
            <ac:spMk id="42" creationId="{18101EE7-4682-51D9-1BDB-36B179180D19}"/>
          </ac:spMkLst>
        </pc:spChg>
        <pc:spChg chg="mod">
          <ac:chgData name="Yiqun Dai" userId="360a2182-b97f-4635-b990-04f846616e33" providerId="ADAL" clId="{8F04EA49-0EFC-48F3-A4D8-E0F0D3B461A8}" dt="2025-10-15T03:02:26.652" v="181699"/>
          <ac:spMkLst>
            <pc:docMk/>
            <pc:sldMk cId="4227280310" sldId="2147481940"/>
            <ac:spMk id="48" creationId="{613F66F8-840B-C8D0-8C21-4DAA351E01C6}"/>
          </ac:spMkLst>
        </pc:spChg>
        <pc:spChg chg="add mod">
          <ac:chgData name="Yiqun Dai" userId="360a2182-b97f-4635-b990-04f846616e33" providerId="ADAL" clId="{8F04EA49-0EFC-48F3-A4D8-E0F0D3B461A8}" dt="2025-10-15T03:02:26.669" v="181730"/>
          <ac:spMkLst>
            <pc:docMk/>
            <pc:sldMk cId="4227280310" sldId="2147481940"/>
            <ac:spMk id="64" creationId="{244E2C23-0CE8-55E2-F3C7-A82E5B06A792}"/>
          </ac:spMkLst>
        </pc:spChg>
        <pc:spChg chg="add mod">
          <ac:chgData name="Yiqun Dai" userId="360a2182-b97f-4635-b990-04f846616e33" providerId="ADAL" clId="{8F04EA49-0EFC-48F3-A4D8-E0F0D3B461A8}" dt="2025-10-15T03:02:26.652" v="181720"/>
          <ac:spMkLst>
            <pc:docMk/>
            <pc:sldMk cId="4227280310" sldId="2147481940"/>
            <ac:spMk id="71" creationId="{E13CC374-A039-40EC-D6FA-074536BD13BE}"/>
          </ac:spMkLst>
        </pc:spChg>
        <pc:spChg chg="add mod">
          <ac:chgData name="Yiqun Dai" userId="360a2182-b97f-4635-b990-04f846616e33" providerId="ADAL" clId="{8F04EA49-0EFC-48F3-A4D8-E0F0D3B461A8}" dt="2025-10-15T03:02:26.652" v="181721"/>
          <ac:spMkLst>
            <pc:docMk/>
            <pc:sldMk cId="4227280310" sldId="2147481940"/>
            <ac:spMk id="72" creationId="{6CC537AC-7E99-A72F-C8F6-B1C7E51DCF3A}"/>
          </ac:spMkLst>
        </pc:spChg>
        <pc:spChg chg="add mod">
          <ac:chgData name="Yiqun Dai" userId="360a2182-b97f-4635-b990-04f846616e33" providerId="ADAL" clId="{8F04EA49-0EFC-48F3-A4D8-E0F0D3B461A8}" dt="2025-10-15T03:02:26.652" v="181722"/>
          <ac:spMkLst>
            <pc:docMk/>
            <pc:sldMk cId="4227280310" sldId="2147481940"/>
            <ac:spMk id="73" creationId="{88324DBE-EF85-A7A2-6EBD-0D4D3BE6E379}"/>
          </ac:spMkLst>
        </pc:spChg>
        <pc:spChg chg="add mod">
          <ac:chgData name="Yiqun Dai" userId="360a2182-b97f-4635-b990-04f846616e33" providerId="ADAL" clId="{8F04EA49-0EFC-48F3-A4D8-E0F0D3B461A8}" dt="2025-10-15T03:02:26.652" v="181723"/>
          <ac:spMkLst>
            <pc:docMk/>
            <pc:sldMk cId="4227280310" sldId="2147481940"/>
            <ac:spMk id="75" creationId="{21679A23-B8D2-71F0-21D2-F80E39E2EE03}"/>
          </ac:spMkLst>
        </pc:spChg>
        <pc:spChg chg="add mod">
          <ac:chgData name="Yiqun Dai" userId="360a2182-b97f-4635-b990-04f846616e33" providerId="ADAL" clId="{8F04EA49-0EFC-48F3-A4D8-E0F0D3B461A8}" dt="2025-10-15T03:02:26.652" v="181724"/>
          <ac:spMkLst>
            <pc:docMk/>
            <pc:sldMk cId="4227280310" sldId="2147481940"/>
            <ac:spMk id="76" creationId="{2AE9AF66-F5C6-FDB6-2CC3-399616E8F82D}"/>
          </ac:spMkLst>
        </pc:spChg>
        <pc:spChg chg="add mod">
          <ac:chgData name="Yiqun Dai" userId="360a2182-b97f-4635-b990-04f846616e33" providerId="ADAL" clId="{8F04EA49-0EFC-48F3-A4D8-E0F0D3B461A8}" dt="2025-10-15T03:02:26.652" v="181725"/>
          <ac:spMkLst>
            <pc:docMk/>
            <pc:sldMk cId="4227280310" sldId="2147481940"/>
            <ac:spMk id="77" creationId="{01554E5E-E1E1-022A-7A0B-55B7AD93F83E}"/>
          </ac:spMkLst>
        </pc:spChg>
        <pc:spChg chg="add mod">
          <ac:chgData name="Yiqun Dai" userId="360a2182-b97f-4635-b990-04f846616e33" providerId="ADAL" clId="{8F04EA49-0EFC-48F3-A4D8-E0F0D3B461A8}" dt="2025-10-15T03:02:26.652" v="181701"/>
          <ac:spMkLst>
            <pc:docMk/>
            <pc:sldMk cId="4227280310" sldId="2147481940"/>
            <ac:spMk id="89" creationId="{25AFED23-9FB4-3CF7-D4B7-49AFC7C4E399}"/>
          </ac:spMkLst>
        </pc:spChg>
        <pc:spChg chg="mod">
          <ac:chgData name="Yiqun Dai" userId="360a2182-b97f-4635-b990-04f846616e33" providerId="ADAL" clId="{8F04EA49-0EFC-48F3-A4D8-E0F0D3B461A8}" dt="2025-10-15T03:02:26.652" v="181697"/>
          <ac:spMkLst>
            <pc:docMk/>
            <pc:sldMk cId="4227280310" sldId="2147481940"/>
            <ac:spMk id="123" creationId="{9772BEE4-F523-F2E3-F5DD-F6B3F2207067}"/>
          </ac:spMkLst>
        </pc:spChg>
        <pc:spChg chg="mod">
          <ac:chgData name="Yiqun Dai" userId="360a2182-b97f-4635-b990-04f846616e33" providerId="ADAL" clId="{8F04EA49-0EFC-48F3-A4D8-E0F0D3B461A8}" dt="2025-10-15T03:02:26.636" v="181686"/>
          <ac:spMkLst>
            <pc:docMk/>
            <pc:sldMk cId="4227280310" sldId="2147481940"/>
            <ac:spMk id="128" creationId="{48FA153A-B8FE-C253-F448-BBF7F564B607}"/>
          </ac:spMkLst>
        </pc:spChg>
        <pc:spChg chg="mod">
          <ac:chgData name="Yiqun Dai" userId="360a2182-b97f-4635-b990-04f846616e33" providerId="ADAL" clId="{8F04EA49-0EFC-48F3-A4D8-E0F0D3B461A8}" dt="2025-10-15T03:02:26.636" v="181687"/>
          <ac:spMkLst>
            <pc:docMk/>
            <pc:sldMk cId="4227280310" sldId="2147481940"/>
            <ac:spMk id="129" creationId="{E2A1090F-BB6E-479A-47D5-CB70238A37FD}"/>
          </ac:spMkLst>
        </pc:spChg>
        <pc:spChg chg="mod">
          <ac:chgData name="Yiqun Dai" userId="360a2182-b97f-4635-b990-04f846616e33" providerId="ADAL" clId="{8F04EA49-0EFC-48F3-A4D8-E0F0D3B461A8}" dt="2025-10-15T03:02:26.652" v="181693"/>
          <ac:spMkLst>
            <pc:docMk/>
            <pc:sldMk cId="4227280310" sldId="2147481940"/>
            <ac:spMk id="204" creationId="{47CF8D4C-0C0F-0D9B-64FA-7906490C33E5}"/>
          </ac:spMkLst>
        </pc:spChg>
        <pc:spChg chg="mod">
          <ac:chgData name="Yiqun Dai" userId="360a2182-b97f-4635-b990-04f846616e33" providerId="ADAL" clId="{8F04EA49-0EFC-48F3-A4D8-E0F0D3B461A8}" dt="2025-10-15T03:02:26.652" v="181692"/>
          <ac:spMkLst>
            <pc:docMk/>
            <pc:sldMk cId="4227280310" sldId="2147481940"/>
            <ac:spMk id="205" creationId="{019D0A26-CC97-0562-28D2-93B434A1A2BE}"/>
          </ac:spMkLst>
        </pc:spChg>
        <pc:spChg chg="mod ord">
          <ac:chgData name="Yiqun Dai" userId="360a2182-b97f-4635-b990-04f846616e33" providerId="ADAL" clId="{8F04EA49-0EFC-48F3-A4D8-E0F0D3B461A8}" dt="2025-10-15T03:02:26.652" v="181707"/>
          <ac:spMkLst>
            <pc:docMk/>
            <pc:sldMk cId="4227280310" sldId="2147481940"/>
            <ac:spMk id="424" creationId="{43CAE546-FD7D-FE44-3EBE-448FD7F4954C}"/>
          </ac:spMkLst>
        </pc:spChg>
        <pc:spChg chg="mod">
          <ac:chgData name="Yiqun Dai" userId="360a2182-b97f-4635-b990-04f846616e33" providerId="ADAL" clId="{8F04EA49-0EFC-48F3-A4D8-E0F0D3B461A8}" dt="2025-10-15T03:02:26.604" v="181612"/>
          <ac:spMkLst>
            <pc:docMk/>
            <pc:sldMk cId="4227280310" sldId="2147481940"/>
            <ac:spMk id="426" creationId="{EF73739C-F416-2B0E-EFA2-7EC23EB501F6}"/>
          </ac:spMkLst>
        </pc:spChg>
        <pc:spChg chg="mod">
          <ac:chgData name="Yiqun Dai" userId="360a2182-b97f-4635-b990-04f846616e33" providerId="ADAL" clId="{8F04EA49-0EFC-48F3-A4D8-E0F0D3B461A8}" dt="2025-10-15T03:02:26.604" v="181612"/>
          <ac:spMkLst>
            <pc:docMk/>
            <pc:sldMk cId="4227280310" sldId="2147481940"/>
            <ac:spMk id="427" creationId="{10441B0D-1A6F-A426-B9D1-7B3643BADA2D}"/>
          </ac:spMkLst>
        </pc:spChg>
        <pc:spChg chg="mod">
          <ac:chgData name="Yiqun Dai" userId="360a2182-b97f-4635-b990-04f846616e33" providerId="ADAL" clId="{8F04EA49-0EFC-48F3-A4D8-E0F0D3B461A8}" dt="2025-10-15T03:02:26.604" v="181616"/>
          <ac:spMkLst>
            <pc:docMk/>
            <pc:sldMk cId="4227280310" sldId="2147481940"/>
            <ac:spMk id="430" creationId="{9144C5C9-8A3B-3544-0815-8E8602E4A728}"/>
          </ac:spMkLst>
        </pc:spChg>
        <pc:spChg chg="mod">
          <ac:chgData name="Yiqun Dai" userId="360a2182-b97f-4635-b990-04f846616e33" providerId="ADAL" clId="{8F04EA49-0EFC-48F3-A4D8-E0F0D3B461A8}" dt="2025-10-15T03:02:26.604" v="181616"/>
          <ac:spMkLst>
            <pc:docMk/>
            <pc:sldMk cId="4227280310" sldId="2147481940"/>
            <ac:spMk id="431" creationId="{56ABC2FA-49C2-09AC-0EC6-4F04872102F4}"/>
          </ac:spMkLst>
        </pc:spChg>
        <pc:spChg chg="mod ord">
          <ac:chgData name="Yiqun Dai" userId="360a2182-b97f-4635-b990-04f846616e33" providerId="ADAL" clId="{8F04EA49-0EFC-48F3-A4D8-E0F0D3B461A8}" dt="2025-10-15T03:02:26.652" v="181713"/>
          <ac:spMkLst>
            <pc:docMk/>
            <pc:sldMk cId="4227280310" sldId="2147481940"/>
            <ac:spMk id="432" creationId="{46C02B81-0DB5-86A9-86FE-49CA1FE00ED2}"/>
          </ac:spMkLst>
        </pc:spChg>
        <pc:spChg chg="add mod ord">
          <ac:chgData name="Yiqun Dai" userId="360a2182-b97f-4635-b990-04f846616e33" providerId="ADAL" clId="{8F04EA49-0EFC-48F3-A4D8-E0F0D3B461A8}" dt="2025-10-15T03:02:26.652" v="181703"/>
          <ac:spMkLst>
            <pc:docMk/>
            <pc:sldMk cId="4227280310" sldId="2147481940"/>
            <ac:spMk id="473" creationId="{F447D7EC-65F6-CB65-EA76-D85707EF92D3}"/>
          </ac:spMkLst>
        </pc:spChg>
        <pc:spChg chg="mod ord">
          <ac:chgData name="Yiqun Dai" userId="360a2182-b97f-4635-b990-04f846616e33" providerId="ADAL" clId="{8F04EA49-0EFC-48F3-A4D8-E0F0D3B461A8}" dt="2025-10-15T03:02:26.652" v="181715"/>
          <ac:spMkLst>
            <pc:docMk/>
            <pc:sldMk cId="4227280310" sldId="2147481940"/>
            <ac:spMk id="494" creationId="{2C228C22-149D-9339-1578-B84E97F28144}"/>
          </ac:spMkLst>
        </pc:spChg>
        <pc:spChg chg="mod ord">
          <ac:chgData name="Yiqun Dai" userId="360a2182-b97f-4635-b990-04f846616e33" providerId="ADAL" clId="{8F04EA49-0EFC-48F3-A4D8-E0F0D3B461A8}" dt="2025-10-15T03:02:26.652" v="181717"/>
          <ac:spMkLst>
            <pc:docMk/>
            <pc:sldMk cId="4227280310" sldId="2147481940"/>
            <ac:spMk id="495" creationId="{F6162275-AE85-968D-0C67-C0A8A93BA959}"/>
          </ac:spMkLst>
        </pc:spChg>
        <pc:spChg chg="add mod">
          <ac:chgData name="Yiqun Dai" userId="360a2182-b97f-4635-b990-04f846616e33" providerId="ADAL" clId="{8F04EA49-0EFC-48F3-A4D8-E0F0D3B461A8}" dt="2025-10-15T03:02:26.652" v="181726"/>
          <ac:spMkLst>
            <pc:docMk/>
            <pc:sldMk cId="4227280310" sldId="2147481940"/>
            <ac:spMk id="506" creationId="{B43B7C73-1064-9324-F4F7-12DC0E998B6D}"/>
          </ac:spMkLst>
        </pc:spChg>
        <pc:spChg chg="add mod">
          <ac:chgData name="Yiqun Dai" userId="360a2182-b97f-4635-b990-04f846616e33" providerId="ADAL" clId="{8F04EA49-0EFC-48F3-A4D8-E0F0D3B461A8}" dt="2025-10-15T03:02:26.669" v="181731"/>
          <ac:spMkLst>
            <pc:docMk/>
            <pc:sldMk cId="4227280310" sldId="2147481940"/>
            <ac:spMk id="507" creationId="{B0DEBF5C-9778-0890-EF54-6A1746EF01DD}"/>
          </ac:spMkLst>
        </pc:spChg>
        <pc:spChg chg="add mod">
          <ac:chgData name="Yiqun Dai" userId="360a2182-b97f-4635-b990-04f846616e33" providerId="ADAL" clId="{8F04EA49-0EFC-48F3-A4D8-E0F0D3B461A8}" dt="2025-10-15T03:02:26.668" v="181727"/>
          <ac:spMkLst>
            <pc:docMk/>
            <pc:sldMk cId="4227280310" sldId="2147481940"/>
            <ac:spMk id="508" creationId="{A1405565-4C0E-842F-EEBB-82E560C09E1F}"/>
          </ac:spMkLst>
        </pc:spChg>
        <pc:spChg chg="add mod">
          <ac:chgData name="Yiqun Dai" userId="360a2182-b97f-4635-b990-04f846616e33" providerId="ADAL" clId="{8F04EA49-0EFC-48F3-A4D8-E0F0D3B461A8}" dt="2025-10-15T03:02:26.669" v="181728"/>
          <ac:spMkLst>
            <pc:docMk/>
            <pc:sldMk cId="4227280310" sldId="2147481940"/>
            <ac:spMk id="510" creationId="{3E491AE3-00E3-A8C6-A156-E5797E7C5547}"/>
          </ac:spMkLst>
        </pc:spChg>
        <pc:spChg chg="add mod">
          <ac:chgData name="Yiqun Dai" userId="360a2182-b97f-4635-b990-04f846616e33" providerId="ADAL" clId="{8F04EA49-0EFC-48F3-A4D8-E0F0D3B461A8}" dt="2025-10-15T03:02:26.669" v="181729"/>
          <ac:spMkLst>
            <pc:docMk/>
            <pc:sldMk cId="4227280310" sldId="2147481940"/>
            <ac:spMk id="511" creationId="{E4AC3820-F891-63B5-6DB9-02D037B49E9B}"/>
          </ac:spMkLst>
        </pc:spChg>
        <pc:spChg chg="mod">
          <ac:chgData name="Yiqun Dai" userId="360a2182-b97f-4635-b990-04f846616e33" providerId="ADAL" clId="{8F04EA49-0EFC-48F3-A4D8-E0F0D3B461A8}" dt="2025-10-15T03:02:26.652" v="181688"/>
          <ac:spMkLst>
            <pc:docMk/>
            <pc:sldMk cId="4227280310" sldId="2147481940"/>
            <ac:spMk id="525" creationId="{D0602C47-93B1-589D-9502-993AECF73A95}"/>
          </ac:spMkLst>
        </pc:spChg>
        <pc:spChg chg="mod">
          <ac:chgData name="Yiqun Dai" userId="360a2182-b97f-4635-b990-04f846616e33" providerId="ADAL" clId="{8F04EA49-0EFC-48F3-A4D8-E0F0D3B461A8}" dt="2025-10-15T03:02:26.652" v="181690"/>
          <ac:spMkLst>
            <pc:docMk/>
            <pc:sldMk cId="4227280310" sldId="2147481940"/>
            <ac:spMk id="526" creationId="{60D7A2F0-8A2C-A1F4-5477-760E53F1760F}"/>
          </ac:spMkLst>
        </pc:spChg>
        <pc:spChg chg="mod ord">
          <ac:chgData name="Yiqun Dai" userId="360a2182-b97f-4635-b990-04f846616e33" providerId="ADAL" clId="{8F04EA49-0EFC-48F3-A4D8-E0F0D3B461A8}" dt="2025-10-15T03:02:26.652" v="181695"/>
          <ac:spMkLst>
            <pc:docMk/>
            <pc:sldMk cId="4227280310" sldId="2147481940"/>
            <ac:spMk id="527" creationId="{BBAD8AC7-FA7D-C59D-6D7B-DD4FB1C99DD5}"/>
          </ac:spMkLst>
        </pc:spChg>
        <pc:spChg chg="mod">
          <ac:chgData name="Yiqun Dai" userId="360a2182-b97f-4635-b990-04f846616e33" providerId="ADAL" clId="{8F04EA49-0EFC-48F3-A4D8-E0F0D3B461A8}" dt="2025-10-15T03:02:26.636" v="181679"/>
          <ac:spMkLst>
            <pc:docMk/>
            <pc:sldMk cId="4227280310" sldId="2147481940"/>
            <ac:spMk id="528" creationId="{32A84907-421C-DAA9-9F52-FC74DCE616A3}"/>
          </ac:spMkLst>
        </pc:spChg>
        <pc:spChg chg="mod ord">
          <ac:chgData name="Yiqun Dai" userId="360a2182-b97f-4635-b990-04f846616e33" providerId="ADAL" clId="{8F04EA49-0EFC-48F3-A4D8-E0F0D3B461A8}" dt="2025-10-15T03:02:26.652" v="181719"/>
          <ac:spMkLst>
            <pc:docMk/>
            <pc:sldMk cId="4227280310" sldId="2147481940"/>
            <ac:spMk id="585" creationId="{A4A851ED-8394-A599-DE8A-C7A7807EB09E}"/>
          </ac:spMkLst>
        </pc:spChg>
        <pc:grpChg chg="mod ord">
          <ac:chgData name="Yiqun Dai" userId="360a2182-b97f-4635-b990-04f846616e33" providerId="ADAL" clId="{8F04EA49-0EFC-48F3-A4D8-E0F0D3B461A8}" dt="2025-10-15T03:02:26.652" v="181709"/>
          <ac:grpSpMkLst>
            <pc:docMk/>
            <pc:sldMk cId="4227280310" sldId="2147481940"/>
            <ac:grpSpMk id="428" creationId="{BBA12BBC-85C5-C4F7-7A6D-6FBD73FFE63A}"/>
          </ac:grpSpMkLst>
        </pc:grpChg>
        <pc:grpChg chg="mod ord">
          <ac:chgData name="Yiqun Dai" userId="360a2182-b97f-4635-b990-04f846616e33" providerId="ADAL" clId="{8F04EA49-0EFC-48F3-A4D8-E0F0D3B461A8}" dt="2025-10-15T03:02:26.652" v="181711"/>
          <ac:grpSpMkLst>
            <pc:docMk/>
            <pc:sldMk cId="4227280310" sldId="2147481940"/>
            <ac:grpSpMk id="429" creationId="{9F04552E-5FD4-6A8A-B8A9-F421CD938B81}"/>
          </ac:grpSpMkLst>
        </pc:grpChg>
        <pc:graphicFrameChg chg="mod">
          <ac:chgData name="Yiqun Dai" userId="360a2182-b97f-4635-b990-04f846616e33" providerId="ADAL" clId="{8F04EA49-0EFC-48F3-A4D8-E0F0D3B461A8}" dt="2025-10-15T03:02:26.669" v="181733"/>
          <ac:graphicFrameMkLst>
            <pc:docMk/>
            <pc:sldMk cId="4227280310" sldId="2147481940"/>
            <ac:graphicFrameMk id="11" creationId="{071389C2-79A5-CC11-E061-F3956D9EB621}"/>
          </ac:graphicFrameMkLst>
        </pc:graphicFrameChg>
        <pc:graphicFrameChg chg="add mod ord">
          <ac:chgData name="Yiqun Dai" userId="360a2182-b97f-4635-b990-04f846616e33" providerId="ADAL" clId="{8F04EA49-0EFC-48F3-A4D8-E0F0D3B461A8}" dt="2025-10-15T03:02:26.636" v="181672"/>
          <ac:graphicFrameMkLst>
            <pc:docMk/>
            <pc:sldMk cId="4227280310" sldId="2147481940"/>
            <ac:graphicFrameMk id="93" creationId="{1B13AE80-23CA-5077-0C2E-9DB6A3F3F134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0-15T03:02:26.652" v="181705"/>
          <ac:graphicFrameMkLst>
            <pc:docMk/>
            <pc:sldMk cId="4227280310" sldId="2147481940"/>
            <ac:graphicFrameMk id="336" creationId="{76A527D8-F7BB-6AF3-97D4-E3308136C043}"/>
          </ac:graphicFrameMkLst>
        </pc:graphicFrameChg>
        <pc:cxnChg chg="mod ord">
          <ac:chgData name="Yiqun Dai" userId="360a2182-b97f-4635-b990-04f846616e33" providerId="ADAL" clId="{8F04EA49-0EFC-48F3-A4D8-E0F0D3B461A8}" dt="2025-10-15T03:02:26.636" v="181660"/>
          <ac:cxnSpMkLst>
            <pc:docMk/>
            <pc:sldMk cId="4227280310" sldId="2147481940"/>
            <ac:cxnSpMk id="9" creationId="{A9F9EFC5-8DA7-5A0B-D256-267E74F5A464}"/>
          </ac:cxnSpMkLst>
        </pc:cxnChg>
        <pc:cxnChg chg="mod ord">
          <ac:chgData name="Yiqun Dai" userId="360a2182-b97f-4635-b990-04f846616e33" providerId="ADAL" clId="{8F04EA49-0EFC-48F3-A4D8-E0F0D3B461A8}" dt="2025-10-15T03:02:26.636" v="181670"/>
          <ac:cxnSpMkLst>
            <pc:docMk/>
            <pc:sldMk cId="4227280310" sldId="2147481940"/>
            <ac:cxnSpMk id="35" creationId="{0BE698FA-71FB-1D75-3323-F438952EB5AC}"/>
          </ac:cxnSpMkLst>
        </pc:cxnChg>
        <pc:cxnChg chg="add mod ord">
          <ac:chgData name="Yiqun Dai" userId="360a2182-b97f-4635-b990-04f846616e33" providerId="ADAL" clId="{8F04EA49-0EFC-48F3-A4D8-E0F0D3B461A8}" dt="2025-10-15T03:02:26.636" v="181658"/>
          <ac:cxnSpMkLst>
            <pc:docMk/>
            <pc:sldMk cId="4227280310" sldId="2147481940"/>
            <ac:cxnSpMk id="61" creationId="{C6A76F10-1EAB-6A54-E734-F071160EB634}"/>
          </ac:cxnSpMkLst>
        </pc:cxnChg>
        <pc:cxnChg chg="mod ord">
          <ac:chgData name="Yiqun Dai" userId="360a2182-b97f-4635-b990-04f846616e33" providerId="ADAL" clId="{8F04EA49-0EFC-48F3-A4D8-E0F0D3B461A8}" dt="2025-10-15T03:02:26.636" v="181662"/>
          <ac:cxnSpMkLst>
            <pc:docMk/>
            <pc:sldMk cId="4227280310" sldId="2147481940"/>
            <ac:cxnSpMk id="144" creationId="{EC97898F-89F0-C83C-B157-F878FDE742B3}"/>
          </ac:cxnSpMkLst>
        </pc:cxnChg>
        <pc:cxnChg chg="mod ord">
          <ac:chgData name="Yiqun Dai" userId="360a2182-b97f-4635-b990-04f846616e33" providerId="ADAL" clId="{8F04EA49-0EFC-48F3-A4D8-E0F0D3B461A8}" dt="2025-10-15T03:02:26.636" v="181664"/>
          <ac:cxnSpMkLst>
            <pc:docMk/>
            <pc:sldMk cId="4227280310" sldId="2147481940"/>
            <ac:cxnSpMk id="145" creationId="{E6CD603B-36C5-7AB9-23F5-33D0D696B00D}"/>
          </ac:cxnSpMkLst>
        </pc:cxnChg>
        <pc:cxnChg chg="mod ord">
          <ac:chgData name="Yiqun Dai" userId="360a2182-b97f-4635-b990-04f846616e33" providerId="ADAL" clId="{8F04EA49-0EFC-48F3-A4D8-E0F0D3B461A8}" dt="2025-10-15T03:02:26.636" v="181666"/>
          <ac:cxnSpMkLst>
            <pc:docMk/>
            <pc:sldMk cId="4227280310" sldId="2147481940"/>
            <ac:cxnSpMk id="146" creationId="{1ECF48EA-7707-4B56-E5E3-932E3F7DC98D}"/>
          </ac:cxnSpMkLst>
        </pc:cxnChg>
        <pc:cxnChg chg="mod ord">
          <ac:chgData name="Yiqun Dai" userId="360a2182-b97f-4635-b990-04f846616e33" providerId="ADAL" clId="{8F04EA49-0EFC-48F3-A4D8-E0F0D3B461A8}" dt="2025-10-15T03:02:26.636" v="181668"/>
          <ac:cxnSpMkLst>
            <pc:docMk/>
            <pc:sldMk cId="4227280310" sldId="2147481940"/>
            <ac:cxnSpMk id="147" creationId="{63AF0A51-7CAB-D0ED-29B0-8E7ED67BCFC2}"/>
          </ac:cxnSpMkLst>
        </pc:cxnChg>
        <pc:cxnChg chg="add mod ord">
          <ac:chgData name="Yiqun Dai" userId="360a2182-b97f-4635-b990-04f846616e33" providerId="ADAL" clId="{8F04EA49-0EFC-48F3-A4D8-E0F0D3B461A8}" dt="2025-10-15T03:02:26.636" v="181674"/>
          <ac:cxnSpMkLst>
            <pc:docMk/>
            <pc:sldMk cId="4227280310" sldId="2147481940"/>
            <ac:cxnSpMk id="475" creationId="{2709D6F4-75D5-13CA-E4B4-C12B4DE3F2AD}"/>
          </ac:cxnSpMkLst>
        </pc:cxnChg>
        <pc:cxnChg chg="add mod ord">
          <ac:chgData name="Yiqun Dai" userId="360a2182-b97f-4635-b990-04f846616e33" providerId="ADAL" clId="{8F04EA49-0EFC-48F3-A4D8-E0F0D3B461A8}" dt="2025-10-15T03:02:26.636" v="181676"/>
          <ac:cxnSpMkLst>
            <pc:docMk/>
            <pc:sldMk cId="4227280310" sldId="2147481940"/>
            <ac:cxnSpMk id="476" creationId="{81196FF0-0CFA-5C3E-2BAF-B0A175C67CB5}"/>
          </ac:cxnSpMkLst>
        </pc:cxnChg>
        <pc:cxnChg chg="add mod ord">
          <ac:chgData name="Yiqun Dai" userId="360a2182-b97f-4635-b990-04f846616e33" providerId="ADAL" clId="{8F04EA49-0EFC-48F3-A4D8-E0F0D3B461A8}" dt="2025-10-15T03:02:26.636" v="181678"/>
          <ac:cxnSpMkLst>
            <pc:docMk/>
            <pc:sldMk cId="4227280310" sldId="2147481940"/>
            <ac:cxnSpMk id="477" creationId="{0F1D5F0E-59E7-4676-7044-3B80DC7E9DCA}"/>
          </ac:cxnSpMkLst>
        </pc:cxnChg>
      </pc:sldChg>
      <pc:sldChg chg="addSp delSp modSp add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428009077" sldId="2147481941"/>
        </pc:sldMkLst>
        <pc:spChg chg="mod">
          <ac:chgData name="Yiqun Dai" userId="360a2182-b97f-4635-b990-04f846616e33" providerId="ADAL" clId="{8F04EA49-0EFC-48F3-A4D8-E0F0D3B461A8}" dt="2025-10-15T03:02:15.901" v="181213"/>
          <ac:spMkLst>
            <pc:docMk/>
            <pc:sldMk cId="428009077" sldId="2147481941"/>
            <ac:spMk id="4" creationId="{7E1A5E37-2DF0-5035-8472-38F025250148}"/>
          </ac:spMkLst>
        </pc:spChg>
        <pc:spChg chg="mod">
          <ac:chgData name="Yiqun Dai" userId="360a2182-b97f-4635-b990-04f846616e33" providerId="ADAL" clId="{8F04EA49-0EFC-48F3-A4D8-E0F0D3B461A8}" dt="2025-10-15T03:02:15.901" v="181219"/>
          <ac:spMkLst>
            <pc:docMk/>
            <pc:sldMk cId="428009077" sldId="2147481941"/>
            <ac:spMk id="6" creationId="{2269D204-CA40-B868-7007-13FE06EA93B9}"/>
          </ac:spMkLst>
        </pc:spChg>
        <pc:spChg chg="mod">
          <ac:chgData name="Yiqun Dai" userId="360a2182-b97f-4635-b990-04f846616e33" providerId="ADAL" clId="{8F04EA49-0EFC-48F3-A4D8-E0F0D3B461A8}" dt="2025-10-15T03:02:15.901" v="181222"/>
          <ac:spMkLst>
            <pc:docMk/>
            <pc:sldMk cId="428009077" sldId="2147481941"/>
            <ac:spMk id="7" creationId="{44702A3D-4444-AA94-F76B-09EDFFCC305B}"/>
          </ac:spMkLst>
        </pc:spChg>
        <pc:spChg chg="add mod">
          <ac:chgData name="Yiqun Dai" userId="360a2182-b97f-4635-b990-04f846616e33" providerId="ADAL" clId="{8F04EA49-0EFC-48F3-A4D8-E0F0D3B461A8}" dt="2025-10-15T03:02:15.901" v="181236"/>
          <ac:spMkLst>
            <pc:docMk/>
            <pc:sldMk cId="428009077" sldId="2147481941"/>
            <ac:spMk id="10" creationId="{95F35900-C9D4-56AE-80A5-7F85C1805447}"/>
          </ac:spMkLst>
        </pc:spChg>
        <pc:spChg chg="mod">
          <ac:chgData name="Yiqun Dai" userId="360a2182-b97f-4635-b990-04f846616e33" providerId="ADAL" clId="{8F04EA49-0EFC-48F3-A4D8-E0F0D3B461A8}" dt="2025-10-15T03:02:15.901" v="181227"/>
          <ac:spMkLst>
            <pc:docMk/>
            <pc:sldMk cId="428009077" sldId="2147481941"/>
            <ac:spMk id="12" creationId="{1C96C066-E2B7-4756-1909-A7716F8EB014}"/>
          </ac:spMkLst>
        </pc:spChg>
        <pc:spChg chg="mod">
          <ac:chgData name="Yiqun Dai" userId="360a2182-b97f-4635-b990-04f846616e33" providerId="ADAL" clId="{8F04EA49-0EFC-48F3-A4D8-E0F0D3B461A8}" dt="2025-10-15T03:02:15.901" v="181229"/>
          <ac:spMkLst>
            <pc:docMk/>
            <pc:sldMk cId="428009077" sldId="2147481941"/>
            <ac:spMk id="13" creationId="{ECBD431A-2F11-6EB4-F328-74DB5464FAAC}"/>
          </ac:spMkLst>
        </pc:spChg>
        <pc:spChg chg="mod">
          <ac:chgData name="Yiqun Dai" userId="360a2182-b97f-4635-b990-04f846616e33" providerId="ADAL" clId="{8F04EA49-0EFC-48F3-A4D8-E0F0D3B461A8}" dt="2025-10-15T03:02:15.901" v="181231"/>
          <ac:spMkLst>
            <pc:docMk/>
            <pc:sldMk cId="428009077" sldId="2147481941"/>
            <ac:spMk id="14" creationId="{0B93B105-0B14-4DAC-0F6D-E999D13C2A26}"/>
          </ac:spMkLst>
        </pc:spChg>
        <pc:spChg chg="mod">
          <ac:chgData name="Yiqun Dai" userId="360a2182-b97f-4635-b990-04f846616e33" providerId="ADAL" clId="{8F04EA49-0EFC-48F3-A4D8-E0F0D3B461A8}" dt="2025-10-15T03:02:15.901" v="181232"/>
          <ac:spMkLst>
            <pc:docMk/>
            <pc:sldMk cId="428009077" sldId="2147481941"/>
            <ac:spMk id="15" creationId="{46A92AAE-1F93-6B64-0F7E-A55EB1C6A634}"/>
          </ac:spMkLst>
        </pc:spChg>
        <pc:spChg chg="add mod">
          <ac:chgData name="Yiqun Dai" userId="360a2182-b97f-4635-b990-04f846616e33" providerId="ADAL" clId="{8F04EA49-0EFC-48F3-A4D8-E0F0D3B461A8}" dt="2025-10-15T03:02:15.901" v="181230"/>
          <ac:spMkLst>
            <pc:docMk/>
            <pc:sldMk cId="428009077" sldId="2147481941"/>
            <ac:spMk id="22" creationId="{F8F71149-EA02-91B7-64AA-B0804AA1D94B}"/>
          </ac:spMkLst>
        </pc:spChg>
        <pc:spChg chg="mod">
          <ac:chgData name="Yiqun Dai" userId="360a2182-b97f-4635-b990-04f846616e33" providerId="ADAL" clId="{8F04EA49-0EFC-48F3-A4D8-E0F0D3B461A8}" dt="2025-10-15T03:02:15.901" v="181234"/>
          <ac:spMkLst>
            <pc:docMk/>
            <pc:sldMk cId="428009077" sldId="2147481941"/>
            <ac:spMk id="42" creationId="{1E8C9188-02E6-C751-8D6E-996B30BB8C08}"/>
          </ac:spMkLst>
        </pc:spChg>
        <pc:spChg chg="mod ord">
          <ac:chgData name="Yiqun Dai" userId="360a2182-b97f-4635-b990-04f846616e33" providerId="ADAL" clId="{8F04EA49-0EFC-48F3-A4D8-E0F0D3B461A8}" dt="2025-10-15T03:02:15.901" v="181235"/>
          <ac:spMkLst>
            <pc:docMk/>
            <pc:sldMk cId="428009077" sldId="2147481941"/>
            <ac:spMk id="48" creationId="{83E4A7CE-291C-6984-579D-813B4DEFDFD2}"/>
          </ac:spMkLst>
        </pc:spChg>
        <pc:spChg chg="mod">
          <ac:chgData name="Yiqun Dai" userId="360a2182-b97f-4635-b990-04f846616e33" providerId="ADAL" clId="{8F04EA49-0EFC-48F3-A4D8-E0F0D3B461A8}" dt="2025-10-15T03:02:15.901" v="181233"/>
          <ac:spMkLst>
            <pc:docMk/>
            <pc:sldMk cId="428009077" sldId="2147481941"/>
            <ac:spMk id="123" creationId="{FAB5ED6A-8C66-2438-6C65-465CC98D4266}"/>
          </ac:spMkLst>
        </pc:spChg>
        <pc:spChg chg="mod ord">
          <ac:chgData name="Yiqun Dai" userId="360a2182-b97f-4635-b990-04f846616e33" providerId="ADAL" clId="{8F04EA49-0EFC-48F3-A4D8-E0F0D3B461A8}" dt="2025-10-15T03:02:15.901" v="181214"/>
          <ac:spMkLst>
            <pc:docMk/>
            <pc:sldMk cId="428009077" sldId="2147481941"/>
            <ac:spMk id="128" creationId="{C126F708-1FD4-2037-0E91-9ED34525AF7B}"/>
          </ac:spMkLst>
        </pc:spChg>
        <pc:spChg chg="mod ord">
          <ac:chgData name="Yiqun Dai" userId="360a2182-b97f-4635-b990-04f846616e33" providerId="ADAL" clId="{8F04EA49-0EFC-48F3-A4D8-E0F0D3B461A8}" dt="2025-10-15T03:02:15.901" v="181216"/>
          <ac:spMkLst>
            <pc:docMk/>
            <pc:sldMk cId="428009077" sldId="2147481941"/>
            <ac:spMk id="129" creationId="{927511C9-5B21-8163-DE71-D432CD1853DD}"/>
          </ac:spMkLst>
        </pc:spChg>
        <pc:spChg chg="mod">
          <ac:chgData name="Yiqun Dai" userId="360a2182-b97f-4635-b990-04f846616e33" providerId="ADAL" clId="{8F04EA49-0EFC-48F3-A4D8-E0F0D3B461A8}" dt="2025-10-15T03:02:15.901" v="181224"/>
          <ac:spMkLst>
            <pc:docMk/>
            <pc:sldMk cId="428009077" sldId="2147481941"/>
            <ac:spMk id="204" creationId="{1C9FA0DC-D069-FC6D-EC9B-45B7DA30D5AE}"/>
          </ac:spMkLst>
        </pc:spChg>
        <pc:spChg chg="mod">
          <ac:chgData name="Yiqun Dai" userId="360a2182-b97f-4635-b990-04f846616e33" providerId="ADAL" clId="{8F04EA49-0EFC-48F3-A4D8-E0F0D3B461A8}" dt="2025-10-15T03:02:15.901" v="181223"/>
          <ac:spMkLst>
            <pc:docMk/>
            <pc:sldMk cId="428009077" sldId="2147481941"/>
            <ac:spMk id="205" creationId="{A2F79629-18F1-F307-E1AC-08111D01FC70}"/>
          </ac:spMkLst>
        </pc:spChg>
        <pc:spChg chg="mod ord">
          <ac:chgData name="Yiqun Dai" userId="360a2182-b97f-4635-b990-04f846616e33" providerId="ADAL" clId="{8F04EA49-0EFC-48F3-A4D8-E0F0D3B461A8}" dt="2025-10-15T03:02:15.917" v="181242"/>
          <ac:spMkLst>
            <pc:docMk/>
            <pc:sldMk cId="428009077" sldId="2147481941"/>
            <ac:spMk id="424" creationId="{49A0516D-F493-00E6-78CB-84CF4690646D}"/>
          </ac:spMkLst>
        </pc:spChg>
        <pc:spChg chg="mod ord topLvl">
          <ac:chgData name="Yiqun Dai" userId="360a2182-b97f-4635-b990-04f846616e33" providerId="ADAL" clId="{8F04EA49-0EFC-48F3-A4D8-E0F0D3B461A8}" dt="2025-10-15T03:02:15.917" v="181244"/>
          <ac:spMkLst>
            <pc:docMk/>
            <pc:sldMk cId="428009077" sldId="2147481941"/>
            <ac:spMk id="426" creationId="{D740ED73-2E5F-639F-756D-F430A9761E35}"/>
          </ac:spMkLst>
        </pc:spChg>
        <pc:spChg chg="mod ord topLvl">
          <ac:chgData name="Yiqun Dai" userId="360a2182-b97f-4635-b990-04f846616e33" providerId="ADAL" clId="{8F04EA49-0EFC-48F3-A4D8-E0F0D3B461A8}" dt="2025-10-15T03:02:15.917" v="181246"/>
          <ac:spMkLst>
            <pc:docMk/>
            <pc:sldMk cId="428009077" sldId="2147481941"/>
            <ac:spMk id="427" creationId="{9C875DAE-EDAB-0EF9-6D05-25637DE5C245}"/>
          </ac:spMkLst>
        </pc:spChg>
        <pc:spChg chg="mod">
          <ac:chgData name="Yiqun Dai" userId="360a2182-b97f-4635-b990-04f846616e33" providerId="ADAL" clId="{8F04EA49-0EFC-48F3-A4D8-E0F0D3B461A8}" dt="2025-10-15T03:02:15.869" v="181152"/>
          <ac:spMkLst>
            <pc:docMk/>
            <pc:sldMk cId="428009077" sldId="2147481941"/>
            <ac:spMk id="430" creationId="{D566079C-AB5C-4339-B5C3-AD4ECCCEBAC3}"/>
          </ac:spMkLst>
        </pc:spChg>
        <pc:spChg chg="mod">
          <ac:chgData name="Yiqun Dai" userId="360a2182-b97f-4635-b990-04f846616e33" providerId="ADAL" clId="{8F04EA49-0EFC-48F3-A4D8-E0F0D3B461A8}" dt="2025-10-15T03:02:15.869" v="181152"/>
          <ac:spMkLst>
            <pc:docMk/>
            <pc:sldMk cId="428009077" sldId="2147481941"/>
            <ac:spMk id="431" creationId="{A69527A9-66E6-DA2D-3FFD-8238516A0D1E}"/>
          </ac:spMkLst>
        </pc:spChg>
        <pc:spChg chg="mod ord">
          <ac:chgData name="Yiqun Dai" userId="360a2182-b97f-4635-b990-04f846616e33" providerId="ADAL" clId="{8F04EA49-0EFC-48F3-A4D8-E0F0D3B461A8}" dt="2025-10-15T03:02:15.917" v="181250"/>
          <ac:spMkLst>
            <pc:docMk/>
            <pc:sldMk cId="428009077" sldId="2147481941"/>
            <ac:spMk id="432" creationId="{DCE6CD72-F470-D7B0-3BA1-E1CBB3225C17}"/>
          </ac:spMkLst>
        </pc:spChg>
        <pc:spChg chg="add mod">
          <ac:chgData name="Yiqun Dai" userId="360a2182-b97f-4635-b990-04f846616e33" providerId="ADAL" clId="{8F04EA49-0EFC-48F3-A4D8-E0F0D3B461A8}" dt="2025-10-15T03:02:15.917" v="181266"/>
          <ac:spMkLst>
            <pc:docMk/>
            <pc:sldMk cId="428009077" sldId="2147481941"/>
            <ac:spMk id="464" creationId="{F6F7B974-BC5B-DAA7-A020-75548A96A99B}"/>
          </ac:spMkLst>
        </pc:spChg>
        <pc:spChg chg="add mod">
          <ac:chgData name="Yiqun Dai" userId="360a2182-b97f-4635-b990-04f846616e33" providerId="ADAL" clId="{8F04EA49-0EFC-48F3-A4D8-E0F0D3B461A8}" dt="2025-10-15T03:02:15.917" v="181263"/>
          <ac:spMkLst>
            <pc:docMk/>
            <pc:sldMk cId="428009077" sldId="2147481941"/>
            <ac:spMk id="465" creationId="{3B82B457-8B01-CF63-0474-276C92561819}"/>
          </ac:spMkLst>
        </pc:spChg>
        <pc:spChg chg="add mod">
          <ac:chgData name="Yiqun Dai" userId="360a2182-b97f-4635-b990-04f846616e33" providerId="ADAL" clId="{8F04EA49-0EFC-48F3-A4D8-E0F0D3B461A8}" dt="2025-10-15T03:02:15.917" v="181265"/>
          <ac:spMkLst>
            <pc:docMk/>
            <pc:sldMk cId="428009077" sldId="2147481941"/>
            <ac:spMk id="466" creationId="{4077D395-B789-A39C-2422-4569E70EDA3D}"/>
          </ac:spMkLst>
        </pc:spChg>
        <pc:spChg chg="add mod">
          <ac:chgData name="Yiqun Dai" userId="360a2182-b97f-4635-b990-04f846616e33" providerId="ADAL" clId="{8F04EA49-0EFC-48F3-A4D8-E0F0D3B461A8}" dt="2025-10-15T03:02:15.917" v="181264"/>
          <ac:spMkLst>
            <pc:docMk/>
            <pc:sldMk cId="428009077" sldId="2147481941"/>
            <ac:spMk id="468" creationId="{F11FC4BF-55A6-169B-0D0A-4BFE8FEB33C8}"/>
          </ac:spMkLst>
        </pc:spChg>
        <pc:spChg chg="add mod">
          <ac:chgData name="Yiqun Dai" userId="360a2182-b97f-4635-b990-04f846616e33" providerId="ADAL" clId="{8F04EA49-0EFC-48F3-A4D8-E0F0D3B461A8}" dt="2025-10-15T03:02:15.917" v="181267"/>
          <ac:spMkLst>
            <pc:docMk/>
            <pc:sldMk cId="428009077" sldId="2147481941"/>
            <ac:spMk id="469" creationId="{D85D832F-21A3-3A9B-0937-C0DB982C714E}"/>
          </ac:spMkLst>
        </pc:spChg>
        <pc:spChg chg="add mod">
          <ac:chgData name="Yiqun Dai" userId="360a2182-b97f-4635-b990-04f846616e33" providerId="ADAL" clId="{8F04EA49-0EFC-48F3-A4D8-E0F0D3B461A8}" dt="2025-10-15T03:02:15.917" v="181268"/>
          <ac:spMkLst>
            <pc:docMk/>
            <pc:sldMk cId="428009077" sldId="2147481941"/>
            <ac:spMk id="470" creationId="{A4BFA055-CE73-BDE7-7882-EF2EEF3252B2}"/>
          </ac:spMkLst>
        </pc:spChg>
        <pc:spChg chg="add mod">
          <ac:chgData name="Yiqun Dai" userId="360a2182-b97f-4635-b990-04f846616e33" providerId="ADAL" clId="{8F04EA49-0EFC-48F3-A4D8-E0F0D3B461A8}" dt="2025-10-15T03:02:15.917" v="181257"/>
          <ac:spMkLst>
            <pc:docMk/>
            <pc:sldMk cId="428009077" sldId="2147481941"/>
            <ac:spMk id="479" creationId="{5E6F7253-8CAC-FD75-E08D-58A9C039CC5C}"/>
          </ac:spMkLst>
        </pc:spChg>
        <pc:spChg chg="add mod">
          <ac:chgData name="Yiqun Dai" userId="360a2182-b97f-4635-b990-04f846616e33" providerId="ADAL" clId="{8F04EA49-0EFC-48F3-A4D8-E0F0D3B461A8}" dt="2025-10-15T03:02:15.917" v="181258"/>
          <ac:spMkLst>
            <pc:docMk/>
            <pc:sldMk cId="428009077" sldId="2147481941"/>
            <ac:spMk id="480" creationId="{41237462-EBDE-FE86-47B3-C08B9F04506C}"/>
          </ac:spMkLst>
        </pc:spChg>
        <pc:spChg chg="add mod">
          <ac:chgData name="Yiqun Dai" userId="360a2182-b97f-4635-b990-04f846616e33" providerId="ADAL" clId="{8F04EA49-0EFC-48F3-A4D8-E0F0D3B461A8}" dt="2025-10-15T03:02:15.917" v="181259"/>
          <ac:spMkLst>
            <pc:docMk/>
            <pc:sldMk cId="428009077" sldId="2147481941"/>
            <ac:spMk id="481" creationId="{7C112FA6-F40E-174F-6BF6-C0ADD628BEF1}"/>
          </ac:spMkLst>
        </pc:spChg>
        <pc:spChg chg="add mod">
          <ac:chgData name="Yiqun Dai" userId="360a2182-b97f-4635-b990-04f846616e33" providerId="ADAL" clId="{8F04EA49-0EFC-48F3-A4D8-E0F0D3B461A8}" dt="2025-10-15T03:02:15.917" v="181260"/>
          <ac:spMkLst>
            <pc:docMk/>
            <pc:sldMk cId="428009077" sldId="2147481941"/>
            <ac:spMk id="483" creationId="{29E210AE-B2EA-565F-1DA8-2C1228AA3C4B}"/>
          </ac:spMkLst>
        </pc:spChg>
        <pc:spChg chg="add mod">
          <ac:chgData name="Yiqun Dai" userId="360a2182-b97f-4635-b990-04f846616e33" providerId="ADAL" clId="{8F04EA49-0EFC-48F3-A4D8-E0F0D3B461A8}" dt="2025-10-15T03:02:15.917" v="181261"/>
          <ac:spMkLst>
            <pc:docMk/>
            <pc:sldMk cId="428009077" sldId="2147481941"/>
            <ac:spMk id="484" creationId="{FD510AD0-0882-0D97-8CAF-855C390BDC16}"/>
          </ac:spMkLst>
        </pc:spChg>
        <pc:spChg chg="add mod">
          <ac:chgData name="Yiqun Dai" userId="360a2182-b97f-4635-b990-04f846616e33" providerId="ADAL" clId="{8F04EA49-0EFC-48F3-A4D8-E0F0D3B461A8}" dt="2025-10-15T03:02:15.917" v="181262"/>
          <ac:spMkLst>
            <pc:docMk/>
            <pc:sldMk cId="428009077" sldId="2147481941"/>
            <ac:spMk id="485" creationId="{09BBD62B-ADE1-BFE0-1011-5F570F9922D9}"/>
          </ac:spMkLst>
        </pc:spChg>
        <pc:spChg chg="add mod ord">
          <ac:chgData name="Yiqun Dai" userId="360a2182-b97f-4635-b990-04f846616e33" providerId="ADAL" clId="{8F04EA49-0EFC-48F3-A4D8-E0F0D3B461A8}" dt="2025-10-15T03:02:15.901" v="181238"/>
          <ac:spMkLst>
            <pc:docMk/>
            <pc:sldMk cId="428009077" sldId="2147481941"/>
            <ac:spMk id="490" creationId="{91BE972F-E0B4-7764-A332-FB848CE88456}"/>
          </ac:spMkLst>
        </pc:spChg>
        <pc:spChg chg="mod ord">
          <ac:chgData name="Yiqun Dai" userId="360a2182-b97f-4635-b990-04f846616e33" providerId="ADAL" clId="{8F04EA49-0EFC-48F3-A4D8-E0F0D3B461A8}" dt="2025-10-15T03:02:15.917" v="181252"/>
          <ac:spMkLst>
            <pc:docMk/>
            <pc:sldMk cId="428009077" sldId="2147481941"/>
            <ac:spMk id="494" creationId="{F285ECE6-AB71-2261-B494-19128686E743}"/>
          </ac:spMkLst>
        </pc:spChg>
        <pc:spChg chg="mod ord">
          <ac:chgData name="Yiqun Dai" userId="360a2182-b97f-4635-b990-04f846616e33" providerId="ADAL" clId="{8F04EA49-0EFC-48F3-A4D8-E0F0D3B461A8}" dt="2025-10-15T03:02:15.917" v="181254"/>
          <ac:spMkLst>
            <pc:docMk/>
            <pc:sldMk cId="428009077" sldId="2147481941"/>
            <ac:spMk id="495" creationId="{7306F429-4D85-4102-2CEC-E5F6C05AAB1E}"/>
          </ac:spMkLst>
        </pc:spChg>
        <pc:spChg chg="mod ord">
          <ac:chgData name="Yiqun Dai" userId="360a2182-b97f-4635-b990-04f846616e33" providerId="ADAL" clId="{8F04EA49-0EFC-48F3-A4D8-E0F0D3B461A8}" dt="2025-10-15T03:02:15.901" v="181218"/>
          <ac:spMkLst>
            <pc:docMk/>
            <pc:sldMk cId="428009077" sldId="2147481941"/>
            <ac:spMk id="525" creationId="{24ED253D-308F-835E-FFEF-ABD234D60C0E}"/>
          </ac:spMkLst>
        </pc:spChg>
        <pc:spChg chg="mod ord">
          <ac:chgData name="Yiqun Dai" userId="360a2182-b97f-4635-b990-04f846616e33" providerId="ADAL" clId="{8F04EA49-0EFC-48F3-A4D8-E0F0D3B461A8}" dt="2025-10-15T03:02:15.901" v="181221"/>
          <ac:spMkLst>
            <pc:docMk/>
            <pc:sldMk cId="428009077" sldId="2147481941"/>
            <ac:spMk id="526" creationId="{FB8A3B3F-5BC5-807F-C92F-BCF806AC8D07}"/>
          </ac:spMkLst>
        </pc:spChg>
        <pc:spChg chg="mod ord">
          <ac:chgData name="Yiqun Dai" userId="360a2182-b97f-4635-b990-04f846616e33" providerId="ADAL" clId="{8F04EA49-0EFC-48F3-A4D8-E0F0D3B461A8}" dt="2025-10-15T03:02:15.901" v="181226"/>
          <ac:spMkLst>
            <pc:docMk/>
            <pc:sldMk cId="428009077" sldId="2147481941"/>
            <ac:spMk id="527" creationId="{1DBD00C4-8B8E-DD78-5080-DFE06C5726C2}"/>
          </ac:spMkLst>
        </pc:spChg>
        <pc:spChg chg="mod">
          <ac:chgData name="Yiqun Dai" userId="360a2182-b97f-4635-b990-04f846616e33" providerId="ADAL" clId="{8F04EA49-0EFC-48F3-A4D8-E0F0D3B461A8}" dt="2025-10-15T03:02:15.901" v="181228"/>
          <ac:spMkLst>
            <pc:docMk/>
            <pc:sldMk cId="428009077" sldId="2147481941"/>
            <ac:spMk id="528" creationId="{4BEEFF31-60BB-830F-D8A6-3BD6FF5C2CED}"/>
          </ac:spMkLst>
        </pc:spChg>
        <pc:spChg chg="mod ord">
          <ac:chgData name="Yiqun Dai" userId="360a2182-b97f-4635-b990-04f846616e33" providerId="ADAL" clId="{8F04EA49-0EFC-48F3-A4D8-E0F0D3B461A8}" dt="2025-10-15T03:02:15.917" v="181256"/>
          <ac:spMkLst>
            <pc:docMk/>
            <pc:sldMk cId="428009077" sldId="2147481941"/>
            <ac:spMk id="585" creationId="{695FC497-857E-F60E-75AF-CACC72266AAC}"/>
          </ac:spMkLst>
        </pc:spChg>
        <pc:grpChg chg="mod ord">
          <ac:chgData name="Yiqun Dai" userId="360a2182-b97f-4635-b990-04f846616e33" providerId="ADAL" clId="{8F04EA49-0EFC-48F3-A4D8-E0F0D3B461A8}" dt="2025-10-15T03:02:15.917" v="181248"/>
          <ac:grpSpMkLst>
            <pc:docMk/>
            <pc:sldMk cId="428009077" sldId="2147481941"/>
            <ac:grpSpMk id="429" creationId="{A7A644A3-1986-8475-BCA9-BE576571921B}"/>
          </ac:grpSpMkLst>
        </pc:grpChg>
        <pc:graphicFrameChg chg="mod">
          <ac:chgData name="Yiqun Dai" userId="360a2182-b97f-4635-b990-04f846616e33" providerId="ADAL" clId="{8F04EA49-0EFC-48F3-A4D8-E0F0D3B461A8}" dt="2025-10-15T03:02:15.917" v="181272"/>
          <ac:graphicFrameMkLst>
            <pc:docMk/>
            <pc:sldMk cId="428009077" sldId="2147481941"/>
            <ac:graphicFrameMk id="11" creationId="{D5D67337-FBA4-032A-9220-516DDF98AAB6}"/>
          </ac:graphicFrameMkLst>
        </pc:graphicFrameChg>
        <pc:graphicFrameChg chg="add mod ord">
          <ac:chgData name="Yiqun Dai" userId="360a2182-b97f-4635-b990-04f846616e33" providerId="ADAL" clId="{8F04EA49-0EFC-48F3-A4D8-E0F0D3B461A8}" dt="2025-10-15T03:02:15.901" v="181206"/>
          <ac:graphicFrameMkLst>
            <pc:docMk/>
            <pc:sldMk cId="428009077" sldId="2147481941"/>
            <ac:graphicFrameMk id="65" creationId="{AAB4B586-9A89-F247-82D3-6CABF4E7F7B2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0-15T03:02:15.901" v="181240"/>
          <ac:graphicFrameMkLst>
            <pc:docMk/>
            <pc:sldMk cId="428009077" sldId="2147481941"/>
            <ac:graphicFrameMk id="336" creationId="{F4FFA5E4-99F3-CCA9-0037-5E8A2E7DFF0E}"/>
          </ac:graphicFrameMkLst>
        </pc:graphicFrameChg>
        <pc:cxnChg chg="mod ord">
          <ac:chgData name="Yiqun Dai" userId="360a2182-b97f-4635-b990-04f846616e33" providerId="ADAL" clId="{8F04EA49-0EFC-48F3-A4D8-E0F0D3B461A8}" dt="2025-10-15T03:02:15.885" v="181196"/>
          <ac:cxnSpMkLst>
            <pc:docMk/>
            <pc:sldMk cId="428009077" sldId="2147481941"/>
            <ac:cxnSpMk id="9" creationId="{584190FC-9FB4-54D0-AF86-ED1281FED4E7}"/>
          </ac:cxnSpMkLst>
        </pc:cxnChg>
        <pc:cxnChg chg="add mod ord">
          <ac:chgData name="Yiqun Dai" userId="360a2182-b97f-4635-b990-04f846616e33" providerId="ADAL" clId="{8F04EA49-0EFC-48F3-A4D8-E0F0D3B461A8}" dt="2025-10-15T03:02:15.885" v="181204"/>
          <ac:cxnSpMkLst>
            <pc:docMk/>
            <pc:sldMk cId="428009077" sldId="2147481941"/>
            <ac:cxnSpMk id="30" creationId="{7B6BF9A2-BAA5-E198-A68A-5E31F81FD686}"/>
          </ac:cxnSpMkLst>
        </pc:cxnChg>
        <pc:cxnChg chg="mod ord">
          <ac:chgData name="Yiqun Dai" userId="360a2182-b97f-4635-b990-04f846616e33" providerId="ADAL" clId="{8F04EA49-0EFC-48F3-A4D8-E0F0D3B461A8}" dt="2025-10-15T03:02:15.885" v="181194"/>
          <ac:cxnSpMkLst>
            <pc:docMk/>
            <pc:sldMk cId="428009077" sldId="2147481941"/>
            <ac:cxnSpMk id="61" creationId="{79BFEA8C-8CB3-4D29-E4F3-341876076D33}"/>
          </ac:cxnSpMkLst>
        </pc:cxnChg>
        <pc:cxnChg chg="mod ord">
          <ac:chgData name="Yiqun Dai" userId="360a2182-b97f-4635-b990-04f846616e33" providerId="ADAL" clId="{8F04EA49-0EFC-48F3-A4D8-E0F0D3B461A8}" dt="2025-10-15T03:02:15.885" v="181198"/>
          <ac:cxnSpMkLst>
            <pc:docMk/>
            <pc:sldMk cId="428009077" sldId="2147481941"/>
            <ac:cxnSpMk id="144" creationId="{EEE859D1-25D0-9BCE-3496-AEA53FA1E0EB}"/>
          </ac:cxnSpMkLst>
        </pc:cxnChg>
        <pc:cxnChg chg="mod ord">
          <ac:chgData name="Yiqun Dai" userId="360a2182-b97f-4635-b990-04f846616e33" providerId="ADAL" clId="{8F04EA49-0EFC-48F3-A4D8-E0F0D3B461A8}" dt="2025-10-15T03:02:15.885" v="181200"/>
          <ac:cxnSpMkLst>
            <pc:docMk/>
            <pc:sldMk cId="428009077" sldId="2147481941"/>
            <ac:cxnSpMk id="145" creationId="{DD15FF62-E9C3-23A8-B8C7-7B04AFF1AF67}"/>
          </ac:cxnSpMkLst>
        </pc:cxnChg>
        <pc:cxnChg chg="mod ord">
          <ac:chgData name="Yiqun Dai" userId="360a2182-b97f-4635-b990-04f846616e33" providerId="ADAL" clId="{8F04EA49-0EFC-48F3-A4D8-E0F0D3B461A8}" dt="2025-10-15T03:02:15.885" v="181202"/>
          <ac:cxnSpMkLst>
            <pc:docMk/>
            <pc:sldMk cId="428009077" sldId="2147481941"/>
            <ac:cxnSpMk id="146" creationId="{DE70BDDE-2999-31E2-6E9F-DCBED79C5227}"/>
          </ac:cxnSpMkLst>
        </pc:cxnChg>
        <pc:cxnChg chg="add mod ord">
          <ac:chgData name="Yiqun Dai" userId="360a2182-b97f-4635-b990-04f846616e33" providerId="ADAL" clId="{8F04EA49-0EFC-48F3-A4D8-E0F0D3B461A8}" dt="2025-10-15T03:02:15.901" v="181208"/>
          <ac:cxnSpMkLst>
            <pc:docMk/>
            <pc:sldMk cId="428009077" sldId="2147481941"/>
            <ac:cxnSpMk id="492" creationId="{F56DF0FD-4A51-DA9E-DE96-66C4C06A0204}"/>
          </ac:cxnSpMkLst>
        </pc:cxnChg>
        <pc:cxnChg chg="add mod ord">
          <ac:chgData name="Yiqun Dai" userId="360a2182-b97f-4635-b990-04f846616e33" providerId="ADAL" clId="{8F04EA49-0EFC-48F3-A4D8-E0F0D3B461A8}" dt="2025-10-15T03:02:15.901" v="181210"/>
          <ac:cxnSpMkLst>
            <pc:docMk/>
            <pc:sldMk cId="428009077" sldId="2147481941"/>
            <ac:cxnSpMk id="493" creationId="{7AA63AC2-4E10-57D1-2578-3DB7C11984CD}"/>
          </ac:cxnSpMkLst>
        </pc:cxnChg>
        <pc:cxnChg chg="add mod ord">
          <ac:chgData name="Yiqun Dai" userId="360a2182-b97f-4635-b990-04f846616e33" providerId="ADAL" clId="{8F04EA49-0EFC-48F3-A4D8-E0F0D3B461A8}" dt="2025-10-15T03:02:15.901" v="181212"/>
          <ac:cxnSpMkLst>
            <pc:docMk/>
            <pc:sldMk cId="428009077" sldId="2147481941"/>
            <ac:cxnSpMk id="496" creationId="{348EB77C-C5B5-F7E7-DABF-479408F60014}"/>
          </ac:cxnSpMkLst>
        </pc:cxnChg>
      </pc:sldChg>
      <pc:sldChg chg="addSp delSp modSp add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1358924063" sldId="2147481942"/>
        </pc:sldMkLst>
        <pc:spChg chg="mod">
          <ac:chgData name="Yiqun Dai" userId="360a2182-b97f-4635-b990-04f846616e33" providerId="ADAL" clId="{8F04EA49-0EFC-48F3-A4D8-E0F0D3B461A8}" dt="2025-10-17T10:20:10.358" v="182301" actId="948"/>
          <ac:spMkLst>
            <pc:docMk/>
            <pc:sldMk cId="1358924063" sldId="2147481942"/>
            <ac:spMk id="2" creationId="{1B7FA3A2-25F1-20B4-359E-DDD09ED33206}"/>
          </ac:spMkLst>
        </pc:spChg>
        <pc:spChg chg="add mod">
          <ac:chgData name="Yiqun Dai" userId="360a2182-b97f-4635-b990-04f846616e33" providerId="ADAL" clId="{8F04EA49-0EFC-48F3-A4D8-E0F0D3B461A8}" dt="2025-10-17T08:29:33.220" v="182003" actId="14100"/>
          <ac:spMkLst>
            <pc:docMk/>
            <pc:sldMk cId="1358924063" sldId="2147481942"/>
            <ac:spMk id="5" creationId="{6F13A529-2CA0-159A-3496-8C7CDF25A170}"/>
          </ac:spMkLst>
        </pc:spChg>
        <pc:spChg chg="mod">
          <ac:chgData name="Yiqun Dai" userId="360a2182-b97f-4635-b990-04f846616e33" providerId="ADAL" clId="{8F04EA49-0EFC-48F3-A4D8-E0F0D3B461A8}" dt="2025-10-17T08:28:49.467" v="181963" actId="1076"/>
          <ac:spMkLst>
            <pc:docMk/>
            <pc:sldMk cId="1358924063" sldId="2147481942"/>
            <ac:spMk id="397" creationId="{77CABF17-38C1-0287-5ABC-E793102D5143}"/>
          </ac:spMkLst>
        </pc:spChg>
        <pc:graphicFrameChg chg="add mod">
          <ac:chgData name="Yiqun Dai" userId="360a2182-b97f-4635-b990-04f846616e33" providerId="ADAL" clId="{8F04EA49-0EFC-48F3-A4D8-E0F0D3B461A8}" dt="2025-10-18T00:11:22.602" v="182307" actId="2711"/>
          <ac:graphicFrameMkLst>
            <pc:docMk/>
            <pc:sldMk cId="1358924063" sldId="2147481942"/>
            <ac:graphicFrameMk id="4" creationId="{64F266EF-84BB-D565-9BF4-F9B40D3396D0}"/>
          </ac:graphicFrameMkLst>
        </pc:graphicFrameChg>
        <pc:graphicFrameChg chg="mod">
          <ac:chgData name="Yiqun Dai" userId="360a2182-b97f-4635-b990-04f846616e33" providerId="ADAL" clId="{8F04EA49-0EFC-48F3-A4D8-E0F0D3B461A8}" dt="2025-10-17T10:20:10.366" v="182303"/>
          <ac:graphicFrameMkLst>
            <pc:docMk/>
            <pc:sldMk cId="1358924063" sldId="2147481942"/>
            <ac:graphicFrameMk id="10" creationId="{A70F3D8A-DB22-73A8-444F-63572D1B14DD}"/>
          </ac:graphicFrameMkLst>
        </pc:graphicFrameChg>
        <pc:graphicFrameChg chg="mod">
          <ac:chgData name="Yiqun Dai" userId="360a2182-b97f-4635-b990-04f846616e33" providerId="ADAL" clId="{8F04EA49-0EFC-48F3-A4D8-E0F0D3B461A8}" dt="2025-10-18T00:11:30.675" v="182309" actId="404"/>
          <ac:graphicFrameMkLst>
            <pc:docMk/>
            <pc:sldMk cId="1358924063" sldId="2147481942"/>
            <ac:graphicFrameMk id="396" creationId="{E0B06290-DE8C-E65B-E63F-689A2E6480C8}"/>
          </ac:graphicFrameMkLst>
        </pc:graphicFrameChg>
      </pc:sldChg>
      <pc:sldChg chg="new del ord">
        <pc:chgData name="Yiqun Dai" userId="360a2182-b97f-4635-b990-04f846616e33" providerId="ADAL" clId="{8F04EA49-0EFC-48F3-A4D8-E0F0D3B461A8}" dt="2025-11-10T02:46:26.477" v="282994" actId="47"/>
        <pc:sldMkLst>
          <pc:docMk/>
          <pc:sldMk cId="4276432773" sldId="2147483063"/>
        </pc:sldMkLst>
      </pc:sldChg>
      <pc:sldChg chg="addSp delSp modSp new del mod ord">
        <pc:chgData name="Yiqun Dai" userId="360a2182-b97f-4635-b990-04f846616e33" providerId="ADAL" clId="{8F04EA49-0EFC-48F3-A4D8-E0F0D3B461A8}" dt="2025-11-10T02:46:26.477" v="282994" actId="47"/>
        <pc:sldMkLst>
          <pc:docMk/>
          <pc:sldMk cId="2963803174" sldId="2147483064"/>
        </pc:sldMkLst>
        <pc:spChg chg="mod">
          <ac:chgData name="Yiqun Dai" userId="360a2182-b97f-4635-b990-04f846616e33" providerId="ADAL" clId="{8F04EA49-0EFC-48F3-A4D8-E0F0D3B461A8}" dt="2025-10-31T08:30:50.332" v="183337" actId="948"/>
          <ac:spMkLst>
            <pc:docMk/>
            <pc:sldMk cId="2963803174" sldId="2147483064"/>
            <ac:spMk id="2" creationId="{703F7097-FB00-7C9A-FC90-75F306617409}"/>
          </ac:spMkLst>
        </pc:spChg>
        <pc:graphicFrameChg chg="add mod ord modVis">
          <ac:chgData name="Yiqun Dai" userId="360a2182-b97f-4635-b990-04f846616e33" providerId="ADAL" clId="{8F04EA49-0EFC-48F3-A4D8-E0F0D3B461A8}" dt="2025-10-31T08:30:50.348" v="183339"/>
          <ac:graphicFrameMkLst>
            <pc:docMk/>
            <pc:sldMk cId="2963803174" sldId="2147483064"/>
            <ac:graphicFrameMk id="8" creationId="{598EB30F-1FDF-494D-D1C4-EC12D2A29263}"/>
          </ac:graphicFrameMkLst>
        </pc:graphicFrameChg>
        <pc:picChg chg="add mod">
          <ac:chgData name="Yiqun Dai" userId="360a2182-b97f-4635-b990-04f846616e33" providerId="ADAL" clId="{8F04EA49-0EFC-48F3-A4D8-E0F0D3B461A8}" dt="2025-10-31T08:27:46.296" v="183064" actId="1440"/>
          <ac:picMkLst>
            <pc:docMk/>
            <pc:sldMk cId="2963803174" sldId="2147483064"/>
            <ac:picMk id="7" creationId="{1AC4A2CD-D676-D819-12C6-183767D99462}"/>
          </ac:picMkLst>
        </pc:picChg>
      </pc:sldChg>
      <pc:sldChg chg="addSp delSp modSp new del mod ord">
        <pc:chgData name="Yiqun Dai" userId="360a2182-b97f-4635-b990-04f846616e33" providerId="ADAL" clId="{8F04EA49-0EFC-48F3-A4D8-E0F0D3B461A8}" dt="2025-11-10T02:46:26.477" v="282994" actId="47"/>
        <pc:sldMkLst>
          <pc:docMk/>
          <pc:sldMk cId="485689212" sldId="2147483065"/>
        </pc:sldMkLst>
        <pc:spChg chg="mod ord">
          <ac:chgData name="Yiqun Dai" userId="360a2182-b97f-4635-b990-04f846616e33" providerId="ADAL" clId="{8F04EA49-0EFC-48F3-A4D8-E0F0D3B461A8}" dt="2025-11-06T07:51:39.127" v="199967" actId="14100"/>
          <ac:spMkLst>
            <pc:docMk/>
            <pc:sldMk cId="485689212" sldId="2147483065"/>
            <ac:spMk id="2" creationId="{79CB4334-2F36-FCA5-E097-27B5CCBB45FA}"/>
          </ac:spMkLst>
        </pc:spChg>
        <pc:spChg chg="add mod">
          <ac:chgData name="Yiqun Dai" userId="360a2182-b97f-4635-b990-04f846616e33" providerId="ADAL" clId="{8F04EA49-0EFC-48F3-A4D8-E0F0D3B461A8}" dt="2025-11-06T07:19:55.255" v="199181"/>
          <ac:spMkLst>
            <pc:docMk/>
            <pc:sldMk cId="485689212" sldId="2147483065"/>
            <ac:spMk id="4" creationId="{88418F04-6B0D-C13D-6711-2D4F0E61CA69}"/>
          </ac:spMkLst>
        </pc:spChg>
        <pc:spChg chg="add mod">
          <ac:chgData name="Yiqun Dai" userId="360a2182-b97f-4635-b990-04f846616e33" providerId="ADAL" clId="{8F04EA49-0EFC-48F3-A4D8-E0F0D3B461A8}" dt="2025-11-06T07:19:55.264" v="199187"/>
          <ac:spMkLst>
            <pc:docMk/>
            <pc:sldMk cId="485689212" sldId="2147483065"/>
            <ac:spMk id="6" creationId="{6DEE0A55-F3B6-77C4-AC88-9810D13C0177}"/>
          </ac:spMkLst>
        </pc:spChg>
        <pc:spChg chg="add mod">
          <ac:chgData name="Yiqun Dai" userId="360a2182-b97f-4635-b990-04f846616e33" providerId="ADAL" clId="{8F04EA49-0EFC-48F3-A4D8-E0F0D3B461A8}" dt="2025-11-06T07:19:55.266" v="199190"/>
          <ac:spMkLst>
            <pc:docMk/>
            <pc:sldMk cId="485689212" sldId="2147483065"/>
            <ac:spMk id="7" creationId="{5F0828B9-14BA-5415-4A9C-B38685CD868D}"/>
          </ac:spMkLst>
        </pc:spChg>
        <pc:spChg chg="add mod">
          <ac:chgData name="Yiqun Dai" userId="360a2182-b97f-4635-b990-04f846616e33" providerId="ADAL" clId="{8F04EA49-0EFC-48F3-A4D8-E0F0D3B461A8}" dt="2025-11-06T07:19:55.255" v="199169"/>
          <ac:spMkLst>
            <pc:docMk/>
            <pc:sldMk cId="485689212" sldId="2147483065"/>
            <ac:spMk id="12" creationId="{3E6372D0-027F-03E7-98C4-3E8643DA9932}"/>
          </ac:spMkLst>
        </pc:spChg>
        <pc:spChg chg="add mod">
          <ac:chgData name="Yiqun Dai" userId="360a2182-b97f-4635-b990-04f846616e33" providerId="ADAL" clId="{8F04EA49-0EFC-48F3-A4D8-E0F0D3B461A8}" dt="2025-11-06T07:19:55.255" v="199174"/>
          <ac:spMkLst>
            <pc:docMk/>
            <pc:sldMk cId="485689212" sldId="2147483065"/>
            <ac:spMk id="13" creationId="{914C8BD5-BFE3-1CE1-DE85-5841849D9B66}"/>
          </ac:spMkLst>
        </pc:spChg>
        <pc:spChg chg="add mod">
          <ac:chgData name="Yiqun Dai" userId="360a2182-b97f-4635-b990-04f846616e33" providerId="ADAL" clId="{8F04EA49-0EFC-48F3-A4D8-E0F0D3B461A8}" dt="2025-11-06T07:19:55.266" v="199193"/>
          <ac:spMkLst>
            <pc:docMk/>
            <pc:sldMk cId="485689212" sldId="2147483065"/>
            <ac:spMk id="19" creationId="{E51F8178-2465-DAA9-9D75-FD7832D97397}"/>
          </ac:spMkLst>
        </pc:spChg>
        <pc:spChg chg="add mod">
          <ac:chgData name="Yiqun Dai" userId="360a2182-b97f-4635-b990-04f846616e33" providerId="ADAL" clId="{8F04EA49-0EFC-48F3-A4D8-E0F0D3B461A8}" dt="2025-11-06T07:19:55.264" v="199188"/>
          <ac:spMkLst>
            <pc:docMk/>
            <pc:sldMk cId="485689212" sldId="2147483065"/>
            <ac:spMk id="20" creationId="{F7F8D032-0161-B460-0018-1AB6F02205E6}"/>
          </ac:spMkLst>
        </pc:spChg>
        <pc:spChg chg="add mod">
          <ac:chgData name="Yiqun Dai" userId="360a2182-b97f-4635-b990-04f846616e33" providerId="ADAL" clId="{8F04EA49-0EFC-48F3-A4D8-E0F0D3B461A8}" dt="2025-11-06T07:19:55.266" v="199189"/>
          <ac:spMkLst>
            <pc:docMk/>
            <pc:sldMk cId="485689212" sldId="2147483065"/>
            <ac:spMk id="21" creationId="{5E939003-C1DE-C323-9153-379488580D5F}"/>
          </ac:spMkLst>
        </pc:spChg>
        <pc:spChg chg="add mod">
          <ac:chgData name="Yiqun Dai" userId="360a2182-b97f-4635-b990-04f846616e33" providerId="ADAL" clId="{8F04EA49-0EFC-48F3-A4D8-E0F0D3B461A8}" dt="2025-11-06T07:19:55.266" v="199194"/>
          <ac:spMkLst>
            <pc:docMk/>
            <pc:sldMk cId="485689212" sldId="2147483065"/>
            <ac:spMk id="22" creationId="{4A7BD8FD-8E9B-449E-0731-E33C1644CFF1}"/>
          </ac:spMkLst>
        </pc:spChg>
        <pc:spChg chg="add mod">
          <ac:chgData name="Yiqun Dai" userId="360a2182-b97f-4635-b990-04f846616e33" providerId="ADAL" clId="{8F04EA49-0EFC-48F3-A4D8-E0F0D3B461A8}" dt="2025-11-06T07:19:55.266" v="199195"/>
          <ac:spMkLst>
            <pc:docMk/>
            <pc:sldMk cId="485689212" sldId="2147483065"/>
            <ac:spMk id="24" creationId="{B086C1A8-F2D7-776F-F9F5-D5390080CBEE}"/>
          </ac:spMkLst>
        </pc:spChg>
        <pc:spChg chg="add mod ord">
          <ac:chgData name="Yiqun Dai" userId="360a2182-b97f-4635-b990-04f846616e33" providerId="ADAL" clId="{8F04EA49-0EFC-48F3-A4D8-E0F0D3B461A8}" dt="2025-11-06T07:19:55.266" v="199191"/>
          <ac:spMkLst>
            <pc:docMk/>
            <pc:sldMk cId="485689212" sldId="2147483065"/>
            <ac:spMk id="64" creationId="{58F8C431-1A3D-E2E5-AA07-AE622382A50B}"/>
          </ac:spMkLst>
        </pc:spChg>
        <pc:spChg chg="add mod ord">
          <ac:chgData name="Yiqun Dai" userId="360a2182-b97f-4635-b990-04f846616e33" providerId="ADAL" clId="{8F04EA49-0EFC-48F3-A4D8-E0F0D3B461A8}" dt="2025-11-06T07:19:55.255" v="199186"/>
          <ac:spMkLst>
            <pc:docMk/>
            <pc:sldMk cId="485689212" sldId="2147483065"/>
            <ac:spMk id="80" creationId="{15102751-3129-40C6-0FFC-E9EECF86E264}"/>
          </ac:spMkLst>
        </pc:spChg>
        <pc:spChg chg="add mod">
          <ac:chgData name="Yiqun Dai" userId="360a2182-b97f-4635-b990-04f846616e33" providerId="ADAL" clId="{8F04EA49-0EFC-48F3-A4D8-E0F0D3B461A8}" dt="2025-11-06T07:19:55.266" v="199192"/>
          <ac:spMkLst>
            <pc:docMk/>
            <pc:sldMk cId="485689212" sldId="2147483065"/>
            <ac:spMk id="89" creationId="{632F60E1-AE49-329F-5C92-96DACB192631}"/>
          </ac:spMkLst>
        </pc:spChg>
        <pc:spChg chg="add mod">
          <ac:chgData name="Yiqun Dai" userId="360a2182-b97f-4635-b990-04f846616e33" providerId="ADAL" clId="{8F04EA49-0EFC-48F3-A4D8-E0F0D3B461A8}" dt="2025-11-06T07:19:55.255" v="199184"/>
          <ac:spMkLst>
            <pc:docMk/>
            <pc:sldMk cId="485689212" sldId="2147483065"/>
            <ac:spMk id="92" creationId="{BDE6B1EE-2E6B-7DAA-4C0D-4F92DA25C236}"/>
          </ac:spMkLst>
        </pc:spChg>
        <pc:spChg chg="add mod ord">
          <ac:chgData name="Yiqun Dai" userId="360a2182-b97f-4635-b990-04f846616e33" providerId="ADAL" clId="{8F04EA49-0EFC-48F3-A4D8-E0F0D3B461A8}" dt="2025-11-06T07:19:55.255" v="199168"/>
          <ac:spMkLst>
            <pc:docMk/>
            <pc:sldMk cId="485689212" sldId="2147483065"/>
            <ac:spMk id="96" creationId="{FE01DF26-F6C5-A856-295E-01CAFA17B14D}"/>
          </ac:spMkLst>
        </pc:spChg>
        <pc:spChg chg="add mod">
          <ac:chgData name="Yiqun Dai" userId="360a2182-b97f-4635-b990-04f846616e33" providerId="ADAL" clId="{8F04EA49-0EFC-48F3-A4D8-E0F0D3B461A8}" dt="2025-11-06T07:19:55.266" v="199196"/>
          <ac:spMkLst>
            <pc:docMk/>
            <pc:sldMk cId="485689212" sldId="2147483065"/>
            <ac:spMk id="99" creationId="{8E0B9815-9864-31E1-904D-43BF6781A5E5}"/>
          </ac:spMkLst>
        </pc:spChg>
        <pc:spChg chg="add mod">
          <ac:chgData name="Yiqun Dai" userId="360a2182-b97f-4635-b990-04f846616e33" providerId="ADAL" clId="{8F04EA49-0EFC-48F3-A4D8-E0F0D3B461A8}" dt="2025-11-06T07:19:55.255" v="199178"/>
          <ac:spMkLst>
            <pc:docMk/>
            <pc:sldMk cId="485689212" sldId="2147483065"/>
            <ac:spMk id="109" creationId="{EDD66ABE-0C9A-A1E6-D595-B26A8E926B4A}"/>
          </ac:spMkLst>
        </pc:spChg>
        <pc:spChg chg="add mod">
          <ac:chgData name="Yiqun Dai" userId="360a2182-b97f-4635-b990-04f846616e33" providerId="ADAL" clId="{8F04EA49-0EFC-48F3-A4D8-E0F0D3B461A8}" dt="2025-11-06T07:19:55.255" v="199182"/>
          <ac:spMkLst>
            <pc:docMk/>
            <pc:sldMk cId="485689212" sldId="2147483065"/>
            <ac:spMk id="110" creationId="{C34C6B12-EB7A-8016-7EDA-5D5CE41C81AB}"/>
          </ac:spMkLst>
        </pc:spChg>
        <pc:spChg chg="add mod">
          <ac:chgData name="Yiqun Dai" userId="360a2182-b97f-4635-b990-04f846616e33" providerId="ADAL" clId="{8F04EA49-0EFC-48F3-A4D8-E0F0D3B461A8}" dt="2025-11-06T07:19:55.255" v="199183"/>
          <ac:spMkLst>
            <pc:docMk/>
            <pc:sldMk cId="485689212" sldId="2147483065"/>
            <ac:spMk id="111" creationId="{8DC056CC-7276-6048-AC73-D89784A1B734}"/>
          </ac:spMkLst>
        </pc:spChg>
        <pc:spChg chg="add mod ord">
          <ac:chgData name="Yiqun Dai" userId="360a2182-b97f-4635-b990-04f846616e33" providerId="ADAL" clId="{8F04EA49-0EFC-48F3-A4D8-E0F0D3B461A8}" dt="2025-11-06T07:19:55.255" v="199173"/>
          <ac:spMkLst>
            <pc:docMk/>
            <pc:sldMk cId="485689212" sldId="2147483065"/>
            <ac:spMk id="112" creationId="{FA0D38E6-98F8-B54D-AE4D-D09CA39E88C4}"/>
          </ac:spMkLst>
        </pc:spChg>
        <pc:spChg chg="add mod ord">
          <ac:chgData name="Yiqun Dai" userId="360a2182-b97f-4635-b990-04f846616e33" providerId="ADAL" clId="{8F04EA49-0EFC-48F3-A4D8-E0F0D3B461A8}" dt="2025-11-06T07:19:55.255" v="199171"/>
          <ac:spMkLst>
            <pc:docMk/>
            <pc:sldMk cId="485689212" sldId="2147483065"/>
            <ac:spMk id="113" creationId="{79DA7AE5-46C5-BCE4-6B3A-6D5848C2F4EE}"/>
          </ac:spMkLst>
        </pc:spChg>
        <pc:spChg chg="add mod">
          <ac:chgData name="Yiqun Dai" userId="360a2182-b97f-4635-b990-04f846616e33" providerId="ADAL" clId="{8F04EA49-0EFC-48F3-A4D8-E0F0D3B461A8}" dt="2025-11-06T07:19:55.266" v="199197"/>
          <ac:spMkLst>
            <pc:docMk/>
            <pc:sldMk cId="485689212" sldId="2147483065"/>
            <ac:spMk id="114" creationId="{094772D7-3EA3-0AAF-F568-D7F40C6E04CA}"/>
          </ac:spMkLst>
        </pc:spChg>
        <pc:spChg chg="add mod ord">
          <ac:chgData name="Yiqun Dai" userId="360a2182-b97f-4635-b990-04f846616e33" providerId="ADAL" clId="{8F04EA49-0EFC-48F3-A4D8-E0F0D3B461A8}" dt="2025-11-06T07:19:55.255" v="199177"/>
          <ac:spMkLst>
            <pc:docMk/>
            <pc:sldMk cId="485689212" sldId="2147483065"/>
            <ac:spMk id="115" creationId="{F43CC4E8-C0D7-5461-99C5-02AC0763B1DD}"/>
          </ac:spMkLst>
        </pc:spChg>
        <pc:spChg chg="add mod ord">
          <ac:chgData name="Yiqun Dai" userId="360a2182-b97f-4635-b990-04f846616e33" providerId="ADAL" clId="{8F04EA49-0EFC-48F3-A4D8-E0F0D3B461A8}" dt="2025-11-06T07:19:55.255" v="199175"/>
          <ac:spMkLst>
            <pc:docMk/>
            <pc:sldMk cId="485689212" sldId="2147483065"/>
            <ac:spMk id="116" creationId="{8FB486CC-C9C2-EE25-5A2F-B9589BBB790D}"/>
          </ac:spMkLst>
        </pc:spChg>
        <pc:spChg chg="add mod">
          <ac:chgData name="Yiqun Dai" userId="360a2182-b97f-4635-b990-04f846616e33" providerId="ADAL" clId="{8F04EA49-0EFC-48F3-A4D8-E0F0D3B461A8}" dt="2025-11-06T07:19:55.266" v="199198"/>
          <ac:spMkLst>
            <pc:docMk/>
            <pc:sldMk cId="485689212" sldId="2147483065"/>
            <ac:spMk id="117" creationId="{7F63D385-ED92-C9DA-00CD-0826F808C2CF}"/>
          </ac:spMkLst>
        </pc:spChg>
        <pc:spChg chg="add mod ord">
          <ac:chgData name="Yiqun Dai" userId="360a2182-b97f-4635-b990-04f846616e33" providerId="ADAL" clId="{8F04EA49-0EFC-48F3-A4D8-E0F0D3B461A8}" dt="2025-11-06T07:19:55.266" v="199201"/>
          <ac:spMkLst>
            <pc:docMk/>
            <pc:sldMk cId="485689212" sldId="2147483065"/>
            <ac:spMk id="118" creationId="{4C6A2AEE-F284-FE1A-FF0C-62DD4920C1B9}"/>
          </ac:spMkLst>
        </pc:spChg>
        <pc:spChg chg="add mod ord">
          <ac:chgData name="Yiqun Dai" userId="360a2182-b97f-4635-b990-04f846616e33" providerId="ADAL" clId="{8F04EA49-0EFC-48F3-A4D8-E0F0D3B461A8}" dt="2025-11-06T07:19:55.255" v="199180"/>
          <ac:spMkLst>
            <pc:docMk/>
            <pc:sldMk cId="485689212" sldId="2147483065"/>
            <ac:spMk id="119" creationId="{5254D87A-6FF1-17F9-1EF9-7340C596570C}"/>
          </ac:spMkLst>
        </pc:spChg>
        <pc:spChg chg="add mod">
          <ac:chgData name="Yiqun Dai" userId="360a2182-b97f-4635-b990-04f846616e33" providerId="ADAL" clId="{8F04EA49-0EFC-48F3-A4D8-E0F0D3B461A8}" dt="2025-11-06T07:19:55.266" v="199199"/>
          <ac:spMkLst>
            <pc:docMk/>
            <pc:sldMk cId="485689212" sldId="2147483065"/>
            <ac:spMk id="121" creationId="{CDA59168-BCDB-A62B-CE1B-ACEC8C27F633}"/>
          </ac:spMkLst>
        </pc:spChg>
        <pc:spChg chg="add mod ord">
          <ac:chgData name="Yiqun Dai" userId="360a2182-b97f-4635-b990-04f846616e33" providerId="ADAL" clId="{8F04EA49-0EFC-48F3-A4D8-E0F0D3B461A8}" dt="2025-11-06T07:19:55.250" v="199164"/>
          <ac:spMkLst>
            <pc:docMk/>
            <pc:sldMk cId="485689212" sldId="2147483065"/>
            <ac:spMk id="122" creationId="{5BC39374-B253-7400-5CA1-B8693C047BC6}"/>
          </ac:spMkLst>
        </pc:spChg>
        <pc:spChg chg="add mod">
          <ac:chgData name="Yiqun Dai" userId="360a2182-b97f-4635-b990-04f846616e33" providerId="ADAL" clId="{8F04EA49-0EFC-48F3-A4D8-E0F0D3B461A8}" dt="2025-11-06T07:19:55.266" v="199209"/>
          <ac:spMkLst>
            <pc:docMk/>
            <pc:sldMk cId="485689212" sldId="2147483065"/>
            <ac:spMk id="170" creationId="{A9791189-64A9-7647-3015-DDE5D0D295D3}"/>
          </ac:spMkLst>
        </pc:spChg>
        <pc:spChg chg="add mod">
          <ac:chgData name="Yiqun Dai" userId="360a2182-b97f-4635-b990-04f846616e33" providerId="ADAL" clId="{8F04EA49-0EFC-48F3-A4D8-E0F0D3B461A8}" dt="2025-11-06T07:19:55.266" v="199210"/>
          <ac:spMkLst>
            <pc:docMk/>
            <pc:sldMk cId="485689212" sldId="2147483065"/>
            <ac:spMk id="171" creationId="{FFB2208A-6FC5-1770-6976-ABC5F7112721}"/>
          </ac:spMkLst>
        </pc:spChg>
        <pc:spChg chg="add mod">
          <ac:chgData name="Yiqun Dai" userId="360a2182-b97f-4635-b990-04f846616e33" providerId="ADAL" clId="{8F04EA49-0EFC-48F3-A4D8-E0F0D3B461A8}" dt="2025-11-06T07:19:55.266" v="199211"/>
          <ac:spMkLst>
            <pc:docMk/>
            <pc:sldMk cId="485689212" sldId="2147483065"/>
            <ac:spMk id="172" creationId="{E057FBCA-FF1B-AC1B-F23C-6B5111CA6C92}"/>
          </ac:spMkLst>
        </pc:spChg>
        <pc:spChg chg="add mod">
          <ac:chgData name="Yiqun Dai" userId="360a2182-b97f-4635-b990-04f846616e33" providerId="ADAL" clId="{8F04EA49-0EFC-48F3-A4D8-E0F0D3B461A8}" dt="2025-11-06T07:19:55.266" v="199212"/>
          <ac:spMkLst>
            <pc:docMk/>
            <pc:sldMk cId="485689212" sldId="2147483065"/>
            <ac:spMk id="173" creationId="{1943F05D-F8D2-4403-B7FF-1DF5F3B7E054}"/>
          </ac:spMkLst>
        </pc:spChg>
        <pc:spChg chg="add mod ord">
          <ac:chgData name="Yiqun Dai" userId="360a2182-b97f-4635-b990-04f846616e33" providerId="ADAL" clId="{8F04EA49-0EFC-48F3-A4D8-E0F0D3B461A8}" dt="2025-11-06T07:19:55.266" v="199203"/>
          <ac:spMkLst>
            <pc:docMk/>
            <pc:sldMk cId="485689212" sldId="2147483065"/>
            <ac:spMk id="176" creationId="{43EFE83D-1FCB-BDC9-1F69-2D21437BDFE9}"/>
          </ac:spMkLst>
        </pc:spChg>
        <pc:spChg chg="add mod">
          <ac:chgData name="Yiqun Dai" userId="360a2182-b97f-4635-b990-04f846616e33" providerId="ADAL" clId="{8F04EA49-0EFC-48F3-A4D8-E0F0D3B461A8}" dt="2025-11-06T07:19:55.266" v="199204"/>
          <ac:spMkLst>
            <pc:docMk/>
            <pc:sldMk cId="485689212" sldId="2147483065"/>
            <ac:spMk id="177" creationId="{2DC71D79-3FB9-284E-E3A5-F4BC3AFE2187}"/>
          </ac:spMkLst>
        </pc:spChg>
        <pc:spChg chg="add mod ord">
          <ac:chgData name="Yiqun Dai" userId="360a2182-b97f-4635-b990-04f846616e33" providerId="ADAL" clId="{8F04EA49-0EFC-48F3-A4D8-E0F0D3B461A8}" dt="2025-11-06T07:19:55.266" v="199206"/>
          <ac:spMkLst>
            <pc:docMk/>
            <pc:sldMk cId="485689212" sldId="2147483065"/>
            <ac:spMk id="178" creationId="{82ED66A2-3206-F2BE-CE7C-2498F24115FC}"/>
          </ac:spMkLst>
        </pc:spChg>
        <pc:spChg chg="add mod ord">
          <ac:chgData name="Yiqun Dai" userId="360a2182-b97f-4635-b990-04f846616e33" providerId="ADAL" clId="{8F04EA49-0EFC-48F3-A4D8-E0F0D3B461A8}" dt="2025-11-06T07:19:55.266" v="199208"/>
          <ac:spMkLst>
            <pc:docMk/>
            <pc:sldMk cId="485689212" sldId="2147483065"/>
            <ac:spMk id="179" creationId="{784A6F08-CEF8-5144-6C8D-1216C74EA8F0}"/>
          </ac:spMkLst>
        </pc:spChg>
        <pc:spChg chg="add mod ord">
          <ac:chgData name="Yiqun Dai" userId="360a2182-b97f-4635-b990-04f846616e33" providerId="ADAL" clId="{8F04EA49-0EFC-48F3-A4D8-E0F0D3B461A8}" dt="2025-11-06T07:51:43.341" v="199983" actId="1036"/>
          <ac:spMkLst>
            <pc:docMk/>
            <pc:sldMk cId="485689212" sldId="2147483065"/>
            <ac:spMk id="204" creationId="{CEBCF08E-2BE5-0B7A-A81C-3861351F95BF}"/>
          </ac:spMkLst>
        </pc:spChg>
        <pc:spChg chg="add mod ord">
          <ac:chgData name="Yiqun Dai" userId="360a2182-b97f-4635-b990-04f846616e33" providerId="ADAL" clId="{8F04EA49-0EFC-48F3-A4D8-E0F0D3B461A8}" dt="2025-11-06T07:20:02.181" v="199221" actId="14100"/>
          <ac:spMkLst>
            <pc:docMk/>
            <pc:sldMk cId="485689212" sldId="2147483065"/>
            <ac:spMk id="206" creationId="{61660D93-8BDB-D7CF-2CD4-60C4A4C3CB9A}"/>
          </ac:spMkLst>
        </pc:spChg>
        <pc:spChg chg="add mod ord">
          <ac:chgData name="Yiqun Dai" userId="360a2182-b97f-4635-b990-04f846616e33" providerId="ADAL" clId="{8F04EA49-0EFC-48F3-A4D8-E0F0D3B461A8}" dt="2025-11-06T07:20:02.181" v="199221" actId="14100"/>
          <ac:spMkLst>
            <pc:docMk/>
            <pc:sldMk cId="485689212" sldId="2147483065"/>
            <ac:spMk id="257" creationId="{665DABDA-9217-486D-6559-8D5E2B7E65D2}"/>
          </ac:spMkLst>
        </pc:spChg>
        <pc:spChg chg="add mod ord">
          <ac:chgData name="Yiqun Dai" userId="360a2182-b97f-4635-b990-04f846616e33" providerId="ADAL" clId="{8F04EA49-0EFC-48F3-A4D8-E0F0D3B461A8}" dt="2025-11-06T07:20:02.181" v="199221" actId="14100"/>
          <ac:spMkLst>
            <pc:docMk/>
            <pc:sldMk cId="485689212" sldId="2147483065"/>
            <ac:spMk id="258" creationId="{C5A6CA66-0998-D43A-6154-EA588D0B0BE1}"/>
          </ac:spMkLst>
        </pc:spChg>
        <pc:spChg chg="add mod ord">
          <ac:chgData name="Yiqun Dai" userId="360a2182-b97f-4635-b990-04f846616e33" providerId="ADAL" clId="{8F04EA49-0EFC-48F3-A4D8-E0F0D3B461A8}" dt="2025-11-06T07:20:02.181" v="199221" actId="14100"/>
          <ac:spMkLst>
            <pc:docMk/>
            <pc:sldMk cId="485689212" sldId="2147483065"/>
            <ac:spMk id="259" creationId="{0E9427E4-AD8B-A445-DD7C-50541DD712D5}"/>
          </ac:spMkLst>
        </pc:spChg>
        <pc:graphicFrameChg chg="add mod ord modVis">
          <ac:chgData name="Yiqun Dai" userId="360a2182-b97f-4635-b990-04f846616e33" providerId="ADAL" clId="{8F04EA49-0EFC-48F3-A4D8-E0F0D3B461A8}" dt="2025-11-06T07:51:40.870" v="199969"/>
          <ac:graphicFrameMkLst>
            <pc:docMk/>
            <pc:sldMk cId="485689212" sldId="2147483065"/>
            <ac:graphicFrameMk id="11" creationId="{F6201A77-FDCC-B3F8-98DF-E99D2993CB3E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1-06T07:19:55.266" v="199214"/>
          <ac:graphicFrameMkLst>
            <pc:docMk/>
            <pc:sldMk cId="485689212" sldId="2147483065"/>
            <ac:graphicFrameMk id="198" creationId="{B3B2292F-901E-352C-51AF-61B289BD567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6T07:19:55.255" v="199166"/>
          <ac:graphicFrameMkLst>
            <pc:docMk/>
            <pc:sldMk cId="485689212" sldId="2147483065"/>
            <ac:graphicFrameMk id="205" creationId="{DB481C9F-3672-F6D3-EF88-2D5E78F1B300}"/>
          </ac:graphicFrameMkLst>
        </pc:graphicFrameChg>
        <pc:cxnChg chg="add mod ord">
          <ac:chgData name="Yiqun Dai" userId="360a2182-b97f-4635-b990-04f846616e33" providerId="ADAL" clId="{8F04EA49-0EFC-48F3-A4D8-E0F0D3B461A8}" dt="2025-11-06T07:19:55.248" v="199150"/>
          <ac:cxnSpMkLst>
            <pc:docMk/>
            <pc:sldMk cId="485689212" sldId="2147483065"/>
            <ac:cxnSpMk id="8" creationId="{1C6523FF-7B9F-23C6-4EE4-63993BC4DD84}"/>
          </ac:cxnSpMkLst>
        </pc:cxnChg>
        <pc:cxnChg chg="add mod ord">
          <ac:chgData name="Yiqun Dai" userId="360a2182-b97f-4635-b990-04f846616e33" providerId="ADAL" clId="{8F04EA49-0EFC-48F3-A4D8-E0F0D3B461A8}" dt="2025-11-06T07:19:55.248" v="199152"/>
          <ac:cxnSpMkLst>
            <pc:docMk/>
            <pc:sldMk cId="485689212" sldId="2147483065"/>
            <ac:cxnSpMk id="9" creationId="{E2CB18FA-AF31-C89A-3BAE-3383CE824543}"/>
          </ac:cxnSpMkLst>
        </pc:cxnChg>
        <pc:cxnChg chg="add mod ord">
          <ac:chgData name="Yiqun Dai" userId="360a2182-b97f-4635-b990-04f846616e33" providerId="ADAL" clId="{8F04EA49-0EFC-48F3-A4D8-E0F0D3B461A8}" dt="2025-11-06T07:19:55.250" v="199156"/>
          <ac:cxnSpMkLst>
            <pc:docMk/>
            <pc:sldMk cId="485689212" sldId="2147483065"/>
            <ac:cxnSpMk id="48" creationId="{70A2BD86-9F45-1C57-FEC2-81CFDE34FEE5}"/>
          </ac:cxnSpMkLst>
        </pc:cxnChg>
        <pc:cxnChg chg="add mod ord">
          <ac:chgData name="Yiqun Dai" userId="360a2182-b97f-4635-b990-04f846616e33" providerId="ADAL" clId="{8F04EA49-0EFC-48F3-A4D8-E0F0D3B461A8}" dt="2025-11-06T07:19:55.250" v="199154"/>
          <ac:cxnSpMkLst>
            <pc:docMk/>
            <pc:sldMk cId="485689212" sldId="2147483065"/>
            <ac:cxnSpMk id="81" creationId="{4E1BF54D-4B47-098F-122D-C89048D57AAD}"/>
          </ac:cxnSpMkLst>
        </pc:cxnChg>
        <pc:cxnChg chg="add mod ord">
          <ac:chgData name="Yiqun Dai" userId="360a2182-b97f-4635-b990-04f846616e33" providerId="ADAL" clId="{8F04EA49-0EFC-48F3-A4D8-E0F0D3B461A8}" dt="2025-11-06T07:19:55.250" v="199158"/>
          <ac:cxnSpMkLst>
            <pc:docMk/>
            <pc:sldMk cId="485689212" sldId="2147483065"/>
            <ac:cxnSpMk id="123" creationId="{1FF67305-B8A5-9FC6-B43D-46AA9C27F713}"/>
          </ac:cxnSpMkLst>
        </pc:cxnChg>
        <pc:cxnChg chg="add mod ord">
          <ac:chgData name="Yiqun Dai" userId="360a2182-b97f-4635-b990-04f846616e33" providerId="ADAL" clId="{8F04EA49-0EFC-48F3-A4D8-E0F0D3B461A8}" dt="2025-11-06T07:19:55.250" v="199160"/>
          <ac:cxnSpMkLst>
            <pc:docMk/>
            <pc:sldMk cId="485689212" sldId="2147483065"/>
            <ac:cxnSpMk id="124" creationId="{6F62AD32-D0DD-4E15-19C8-1FA6555DD759}"/>
          </ac:cxnSpMkLst>
        </pc:cxnChg>
        <pc:cxnChg chg="add mod ord">
          <ac:chgData name="Yiqun Dai" userId="360a2182-b97f-4635-b990-04f846616e33" providerId="ADAL" clId="{8F04EA49-0EFC-48F3-A4D8-E0F0D3B461A8}" dt="2025-11-06T07:19:55.250" v="199162"/>
          <ac:cxnSpMkLst>
            <pc:docMk/>
            <pc:sldMk cId="485689212" sldId="2147483065"/>
            <ac:cxnSpMk id="125" creationId="{402A701E-2BD1-B320-1D4D-AD4E253217DE}"/>
          </ac:cxnSpMkLst>
        </pc:cxnChg>
      </pc:sldChg>
      <pc:sldChg chg="new del">
        <pc:chgData name="Yiqun Dai" userId="360a2182-b97f-4635-b990-04f846616e33" providerId="ADAL" clId="{8F04EA49-0EFC-48F3-A4D8-E0F0D3B461A8}" dt="2025-11-10T02:46:26.477" v="282994" actId="47"/>
        <pc:sldMkLst>
          <pc:docMk/>
          <pc:sldMk cId="3773765795" sldId="2147483066"/>
        </pc:sldMkLst>
      </pc:sldChg>
      <pc:sldChg chg="addSp delSp modSp add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2265687033" sldId="2147483067"/>
        </pc:sldMkLst>
        <pc:spChg chg="mod ord">
          <ac:chgData name="Yiqun Dai" userId="360a2182-b97f-4635-b990-04f846616e33" providerId="ADAL" clId="{8F04EA49-0EFC-48F3-A4D8-E0F0D3B461A8}" dt="2025-11-06T08:14:36.816" v="203244" actId="948"/>
          <ac:spMkLst>
            <pc:docMk/>
            <pc:sldMk cId="2265687033" sldId="2147483067"/>
            <ac:spMk id="2" creationId="{3B793890-3A05-4DB0-EE03-9E9DE3FF8E79}"/>
          </ac:spMkLst>
        </pc:spChg>
        <pc:spChg chg="mod">
          <ac:chgData name="Yiqun Dai" userId="360a2182-b97f-4635-b990-04f846616e33" providerId="ADAL" clId="{8F04EA49-0EFC-48F3-A4D8-E0F0D3B461A8}" dt="2025-11-06T08:00:28.290" v="202383"/>
          <ac:spMkLst>
            <pc:docMk/>
            <pc:sldMk cId="2265687033" sldId="2147483067"/>
            <ac:spMk id="4" creationId="{BA9F71FB-6D69-6AB4-4418-D9EE3C293F44}"/>
          </ac:spMkLst>
        </pc:spChg>
        <pc:spChg chg="mod">
          <ac:chgData name="Yiqun Dai" userId="360a2182-b97f-4635-b990-04f846616e33" providerId="ADAL" clId="{8F04EA49-0EFC-48F3-A4D8-E0F0D3B461A8}" dt="2025-11-06T08:00:28.290" v="202387"/>
          <ac:spMkLst>
            <pc:docMk/>
            <pc:sldMk cId="2265687033" sldId="2147483067"/>
            <ac:spMk id="6" creationId="{55FB173F-5D28-86CF-1C3B-80F98ED45552}"/>
          </ac:spMkLst>
        </pc:spChg>
        <pc:spChg chg="mod">
          <ac:chgData name="Yiqun Dai" userId="360a2182-b97f-4635-b990-04f846616e33" providerId="ADAL" clId="{8F04EA49-0EFC-48F3-A4D8-E0F0D3B461A8}" dt="2025-11-06T08:00:28.290" v="202390"/>
          <ac:spMkLst>
            <pc:docMk/>
            <pc:sldMk cId="2265687033" sldId="2147483067"/>
            <ac:spMk id="7" creationId="{BEA57A91-93BC-E4CC-0B5E-02308E5CD5D3}"/>
          </ac:spMkLst>
        </pc:spChg>
        <pc:spChg chg="mod">
          <ac:chgData name="Yiqun Dai" userId="360a2182-b97f-4635-b990-04f846616e33" providerId="ADAL" clId="{8F04EA49-0EFC-48F3-A4D8-E0F0D3B461A8}" dt="2025-11-06T08:00:28.272" v="202369"/>
          <ac:spMkLst>
            <pc:docMk/>
            <pc:sldMk cId="2265687033" sldId="2147483067"/>
            <ac:spMk id="12" creationId="{6863FF7A-52BD-F6CC-149F-F474886B1832}"/>
          </ac:spMkLst>
        </pc:spChg>
        <pc:spChg chg="mod">
          <ac:chgData name="Yiqun Dai" userId="360a2182-b97f-4635-b990-04f846616e33" providerId="ADAL" clId="{8F04EA49-0EFC-48F3-A4D8-E0F0D3B461A8}" dt="2025-11-06T08:00:28.287" v="202374"/>
          <ac:spMkLst>
            <pc:docMk/>
            <pc:sldMk cId="2265687033" sldId="2147483067"/>
            <ac:spMk id="13" creationId="{CEC09ECC-7165-21E3-A7E9-DD8B51CE9A85}"/>
          </ac:spMkLst>
        </pc:spChg>
        <pc:spChg chg="mod">
          <ac:chgData name="Yiqun Dai" userId="360a2182-b97f-4635-b990-04f846616e33" providerId="ADAL" clId="{8F04EA49-0EFC-48F3-A4D8-E0F0D3B461A8}" dt="2025-11-06T08:00:28.290" v="202393"/>
          <ac:spMkLst>
            <pc:docMk/>
            <pc:sldMk cId="2265687033" sldId="2147483067"/>
            <ac:spMk id="19" creationId="{F7A7DFF8-C9E8-E822-E66E-B296C8C5D97F}"/>
          </ac:spMkLst>
        </pc:spChg>
        <pc:spChg chg="mod">
          <ac:chgData name="Yiqun Dai" userId="360a2182-b97f-4635-b990-04f846616e33" providerId="ADAL" clId="{8F04EA49-0EFC-48F3-A4D8-E0F0D3B461A8}" dt="2025-11-06T08:00:28.290" v="202388"/>
          <ac:spMkLst>
            <pc:docMk/>
            <pc:sldMk cId="2265687033" sldId="2147483067"/>
            <ac:spMk id="20" creationId="{DF43DDC9-F082-AF7B-8FE8-CCAFFEB52226}"/>
          </ac:spMkLst>
        </pc:spChg>
        <pc:spChg chg="mod">
          <ac:chgData name="Yiqun Dai" userId="360a2182-b97f-4635-b990-04f846616e33" providerId="ADAL" clId="{8F04EA49-0EFC-48F3-A4D8-E0F0D3B461A8}" dt="2025-11-06T08:00:28.290" v="202389"/>
          <ac:spMkLst>
            <pc:docMk/>
            <pc:sldMk cId="2265687033" sldId="2147483067"/>
            <ac:spMk id="21" creationId="{AAA02A7F-C4DC-C6D4-CFB8-1497FC3D6010}"/>
          </ac:spMkLst>
        </pc:spChg>
        <pc:spChg chg="mod ord">
          <ac:chgData name="Yiqun Dai" userId="360a2182-b97f-4635-b990-04f846616e33" providerId="ADAL" clId="{8F04EA49-0EFC-48F3-A4D8-E0F0D3B461A8}" dt="2025-11-06T08:00:28.290" v="202394"/>
          <ac:spMkLst>
            <pc:docMk/>
            <pc:sldMk cId="2265687033" sldId="2147483067"/>
            <ac:spMk id="22" creationId="{0D680855-51BF-C7DB-F382-5C7ADD5504A6}"/>
          </ac:spMkLst>
        </pc:spChg>
        <pc:spChg chg="mod">
          <ac:chgData name="Yiqun Dai" userId="360a2182-b97f-4635-b990-04f846616e33" providerId="ADAL" clId="{8F04EA49-0EFC-48F3-A4D8-E0F0D3B461A8}" dt="2025-11-06T08:00:28.290" v="202395"/>
          <ac:spMkLst>
            <pc:docMk/>
            <pc:sldMk cId="2265687033" sldId="2147483067"/>
            <ac:spMk id="24" creationId="{41560716-C1ED-FC6A-6286-4DFA66A35800}"/>
          </ac:spMkLst>
        </pc:spChg>
        <pc:spChg chg="mod">
          <ac:chgData name="Yiqun Dai" userId="360a2182-b97f-4635-b990-04f846616e33" providerId="ADAL" clId="{8F04EA49-0EFC-48F3-A4D8-E0F0D3B461A8}" dt="2025-11-06T08:00:28.290" v="202391"/>
          <ac:spMkLst>
            <pc:docMk/>
            <pc:sldMk cId="2265687033" sldId="2147483067"/>
            <ac:spMk id="64" creationId="{384A8BC8-40E2-1DCB-B922-9A51C42A8924}"/>
          </ac:spMkLst>
        </pc:spChg>
        <pc:spChg chg="mod">
          <ac:chgData name="Yiqun Dai" userId="360a2182-b97f-4635-b990-04f846616e33" providerId="ADAL" clId="{8F04EA49-0EFC-48F3-A4D8-E0F0D3B461A8}" dt="2025-11-06T08:00:28.290" v="202386"/>
          <ac:spMkLst>
            <pc:docMk/>
            <pc:sldMk cId="2265687033" sldId="2147483067"/>
            <ac:spMk id="80" creationId="{A9FB7BDC-8DA4-86D0-FA5A-EB06053FB582}"/>
          </ac:spMkLst>
        </pc:spChg>
        <pc:spChg chg="mod">
          <ac:chgData name="Yiqun Dai" userId="360a2182-b97f-4635-b990-04f846616e33" providerId="ADAL" clId="{8F04EA49-0EFC-48F3-A4D8-E0F0D3B461A8}" dt="2025-11-06T08:00:28.290" v="202392"/>
          <ac:spMkLst>
            <pc:docMk/>
            <pc:sldMk cId="2265687033" sldId="2147483067"/>
            <ac:spMk id="89" creationId="{C465C26A-EC20-CE46-C5B9-F90CDBF13D4A}"/>
          </ac:spMkLst>
        </pc:spChg>
        <pc:spChg chg="mod">
          <ac:chgData name="Yiqun Dai" userId="360a2182-b97f-4635-b990-04f846616e33" providerId="ADAL" clId="{8F04EA49-0EFC-48F3-A4D8-E0F0D3B461A8}" dt="2025-11-06T08:00:28.290" v="202385"/>
          <ac:spMkLst>
            <pc:docMk/>
            <pc:sldMk cId="2265687033" sldId="2147483067"/>
            <ac:spMk id="92" creationId="{E175C6AC-3D2B-EB33-444F-337CF85054AD}"/>
          </ac:spMkLst>
        </pc:spChg>
        <pc:spChg chg="mod ord">
          <ac:chgData name="Yiqun Dai" userId="360a2182-b97f-4635-b990-04f846616e33" providerId="ADAL" clId="{8F04EA49-0EFC-48F3-A4D8-E0F0D3B461A8}" dt="2025-11-06T08:00:28.272" v="202368"/>
          <ac:spMkLst>
            <pc:docMk/>
            <pc:sldMk cId="2265687033" sldId="2147483067"/>
            <ac:spMk id="96" creationId="{D4B2F2F4-018A-566F-4FE8-FD8ECEEBA4A9}"/>
          </ac:spMkLst>
        </pc:spChg>
        <pc:spChg chg="mod">
          <ac:chgData name="Yiqun Dai" userId="360a2182-b97f-4635-b990-04f846616e33" providerId="ADAL" clId="{8F04EA49-0EFC-48F3-A4D8-E0F0D3B461A8}" dt="2025-11-06T08:00:28.290" v="202396"/>
          <ac:spMkLst>
            <pc:docMk/>
            <pc:sldMk cId="2265687033" sldId="2147483067"/>
            <ac:spMk id="99" creationId="{30170853-DC54-3FB1-0F28-CE895D7005C5}"/>
          </ac:spMkLst>
        </pc:spChg>
        <pc:spChg chg="mod">
          <ac:chgData name="Yiqun Dai" userId="360a2182-b97f-4635-b990-04f846616e33" providerId="ADAL" clId="{8F04EA49-0EFC-48F3-A4D8-E0F0D3B461A8}" dt="2025-11-06T08:00:28.290" v="202378"/>
          <ac:spMkLst>
            <pc:docMk/>
            <pc:sldMk cId="2265687033" sldId="2147483067"/>
            <ac:spMk id="109" creationId="{368610DC-28D2-56FD-6700-D2371F0B5C62}"/>
          </ac:spMkLst>
        </pc:spChg>
        <pc:spChg chg="mod">
          <ac:chgData name="Yiqun Dai" userId="360a2182-b97f-4635-b990-04f846616e33" providerId="ADAL" clId="{8F04EA49-0EFC-48F3-A4D8-E0F0D3B461A8}" dt="2025-11-06T08:00:28.304" v="202400"/>
          <ac:spMkLst>
            <pc:docMk/>
            <pc:sldMk cId="2265687033" sldId="2147483067"/>
            <ac:spMk id="110" creationId="{AC48E70E-3DDD-1DB5-F357-66FCCDBDEACC}"/>
          </ac:spMkLst>
        </pc:spChg>
        <pc:spChg chg="mod">
          <ac:chgData name="Yiqun Dai" userId="360a2182-b97f-4635-b990-04f846616e33" providerId="ADAL" clId="{8F04EA49-0EFC-48F3-A4D8-E0F0D3B461A8}" dt="2025-11-06T08:00:28.290" v="202384"/>
          <ac:spMkLst>
            <pc:docMk/>
            <pc:sldMk cId="2265687033" sldId="2147483067"/>
            <ac:spMk id="111" creationId="{63344B4B-DBE5-2D8A-C6F5-0C8C26594B78}"/>
          </ac:spMkLst>
        </pc:spChg>
        <pc:spChg chg="mod ord">
          <ac:chgData name="Yiqun Dai" userId="360a2182-b97f-4635-b990-04f846616e33" providerId="ADAL" clId="{8F04EA49-0EFC-48F3-A4D8-E0F0D3B461A8}" dt="2025-11-06T08:00:28.272" v="202373"/>
          <ac:spMkLst>
            <pc:docMk/>
            <pc:sldMk cId="2265687033" sldId="2147483067"/>
            <ac:spMk id="112" creationId="{A7114178-7960-AD3A-A4FA-E75669815651}"/>
          </ac:spMkLst>
        </pc:spChg>
        <pc:spChg chg="mod ord">
          <ac:chgData name="Yiqun Dai" userId="360a2182-b97f-4635-b990-04f846616e33" providerId="ADAL" clId="{8F04EA49-0EFC-48F3-A4D8-E0F0D3B461A8}" dt="2025-11-06T08:00:28.272" v="202371"/>
          <ac:spMkLst>
            <pc:docMk/>
            <pc:sldMk cId="2265687033" sldId="2147483067"/>
            <ac:spMk id="113" creationId="{49FB1383-E093-F3E0-9BB5-AD41A359A46E}"/>
          </ac:spMkLst>
        </pc:spChg>
        <pc:spChg chg="mod">
          <ac:chgData name="Yiqun Dai" userId="360a2182-b97f-4635-b990-04f846616e33" providerId="ADAL" clId="{8F04EA49-0EFC-48F3-A4D8-E0F0D3B461A8}" dt="2025-11-06T08:00:28.303" v="202397"/>
          <ac:spMkLst>
            <pc:docMk/>
            <pc:sldMk cId="2265687033" sldId="2147483067"/>
            <ac:spMk id="114" creationId="{9B0E6CDB-0A8C-A642-B71E-0BEB0C27D6D4}"/>
          </ac:spMkLst>
        </pc:spChg>
        <pc:spChg chg="mod ord">
          <ac:chgData name="Yiqun Dai" userId="360a2182-b97f-4635-b990-04f846616e33" providerId="ADAL" clId="{8F04EA49-0EFC-48F3-A4D8-E0F0D3B461A8}" dt="2025-11-06T08:00:28.289" v="202377"/>
          <ac:spMkLst>
            <pc:docMk/>
            <pc:sldMk cId="2265687033" sldId="2147483067"/>
            <ac:spMk id="115" creationId="{41F44BE7-32BE-1E3D-1333-E667DE6F201B}"/>
          </ac:spMkLst>
        </pc:spChg>
        <pc:spChg chg="mod">
          <ac:chgData name="Yiqun Dai" userId="360a2182-b97f-4635-b990-04f846616e33" providerId="ADAL" clId="{8F04EA49-0EFC-48F3-A4D8-E0F0D3B461A8}" dt="2025-11-06T08:00:28.288" v="202375"/>
          <ac:spMkLst>
            <pc:docMk/>
            <pc:sldMk cId="2265687033" sldId="2147483067"/>
            <ac:spMk id="116" creationId="{E054F4A8-3F7E-06D1-73C5-92307588AC43}"/>
          </ac:spMkLst>
        </pc:spChg>
        <pc:spChg chg="mod">
          <ac:chgData name="Yiqun Dai" userId="360a2182-b97f-4635-b990-04f846616e33" providerId="ADAL" clId="{8F04EA49-0EFC-48F3-A4D8-E0F0D3B461A8}" dt="2025-11-06T08:00:28.303" v="202398"/>
          <ac:spMkLst>
            <pc:docMk/>
            <pc:sldMk cId="2265687033" sldId="2147483067"/>
            <ac:spMk id="117" creationId="{3C28AF53-C212-9A93-87CD-09CB0F66F5A1}"/>
          </ac:spMkLst>
        </pc:spChg>
        <pc:spChg chg="mod ord">
          <ac:chgData name="Yiqun Dai" userId="360a2182-b97f-4635-b990-04f846616e33" providerId="ADAL" clId="{8F04EA49-0EFC-48F3-A4D8-E0F0D3B461A8}" dt="2025-11-06T08:00:28.290" v="202382"/>
          <ac:spMkLst>
            <pc:docMk/>
            <pc:sldMk cId="2265687033" sldId="2147483067"/>
            <ac:spMk id="118" creationId="{A0C036EE-08BB-71A2-4703-3658BDE94166}"/>
          </ac:spMkLst>
        </pc:spChg>
        <pc:spChg chg="mod ord">
          <ac:chgData name="Yiqun Dai" userId="360a2182-b97f-4635-b990-04f846616e33" providerId="ADAL" clId="{8F04EA49-0EFC-48F3-A4D8-E0F0D3B461A8}" dt="2025-11-06T08:00:28.290" v="202380"/>
          <ac:spMkLst>
            <pc:docMk/>
            <pc:sldMk cId="2265687033" sldId="2147483067"/>
            <ac:spMk id="119" creationId="{B3DF09A4-C946-8F78-D492-D44154F763C0}"/>
          </ac:spMkLst>
        </pc:spChg>
        <pc:spChg chg="mod">
          <ac:chgData name="Yiqun Dai" userId="360a2182-b97f-4635-b990-04f846616e33" providerId="ADAL" clId="{8F04EA49-0EFC-48F3-A4D8-E0F0D3B461A8}" dt="2025-11-06T08:00:28.304" v="202399"/>
          <ac:spMkLst>
            <pc:docMk/>
            <pc:sldMk cId="2265687033" sldId="2147483067"/>
            <ac:spMk id="121" creationId="{2870342D-2CB2-9377-5EE1-016154FE7F40}"/>
          </ac:spMkLst>
        </pc:spChg>
        <pc:spChg chg="mod">
          <ac:chgData name="Yiqun Dai" userId="360a2182-b97f-4635-b990-04f846616e33" providerId="ADAL" clId="{8F04EA49-0EFC-48F3-A4D8-E0F0D3B461A8}" dt="2025-11-06T08:00:28.304" v="202408"/>
          <ac:spMkLst>
            <pc:docMk/>
            <pc:sldMk cId="2265687033" sldId="2147483067"/>
            <ac:spMk id="170" creationId="{2D26209D-D890-4BB5-BBE9-CB989A7C78CA}"/>
          </ac:spMkLst>
        </pc:spChg>
        <pc:spChg chg="mod">
          <ac:chgData name="Yiqun Dai" userId="360a2182-b97f-4635-b990-04f846616e33" providerId="ADAL" clId="{8F04EA49-0EFC-48F3-A4D8-E0F0D3B461A8}" dt="2025-11-06T08:00:28.304" v="202409"/>
          <ac:spMkLst>
            <pc:docMk/>
            <pc:sldMk cId="2265687033" sldId="2147483067"/>
            <ac:spMk id="171" creationId="{BE33FF60-79A6-EE66-DFC0-8F34B4AFC797}"/>
          </ac:spMkLst>
        </pc:spChg>
        <pc:spChg chg="mod">
          <ac:chgData name="Yiqun Dai" userId="360a2182-b97f-4635-b990-04f846616e33" providerId="ADAL" clId="{8F04EA49-0EFC-48F3-A4D8-E0F0D3B461A8}" dt="2025-11-06T08:00:28.304" v="202410"/>
          <ac:spMkLst>
            <pc:docMk/>
            <pc:sldMk cId="2265687033" sldId="2147483067"/>
            <ac:spMk id="172" creationId="{C42F8333-9837-706A-7717-6AFB556CDD0F}"/>
          </ac:spMkLst>
        </pc:spChg>
        <pc:spChg chg="mod">
          <ac:chgData name="Yiqun Dai" userId="360a2182-b97f-4635-b990-04f846616e33" providerId="ADAL" clId="{8F04EA49-0EFC-48F3-A4D8-E0F0D3B461A8}" dt="2025-11-06T08:00:28.304" v="202411"/>
          <ac:spMkLst>
            <pc:docMk/>
            <pc:sldMk cId="2265687033" sldId="2147483067"/>
            <ac:spMk id="173" creationId="{E29E30B2-2B64-41F4-E50E-E96CAB6EEACE}"/>
          </ac:spMkLst>
        </pc:spChg>
        <pc:spChg chg="mod ord">
          <ac:chgData name="Yiqun Dai" userId="360a2182-b97f-4635-b990-04f846616e33" providerId="ADAL" clId="{8F04EA49-0EFC-48F3-A4D8-E0F0D3B461A8}" dt="2025-11-06T08:00:28.304" v="202402"/>
          <ac:spMkLst>
            <pc:docMk/>
            <pc:sldMk cId="2265687033" sldId="2147483067"/>
            <ac:spMk id="176" creationId="{3C8B2C83-63B1-644B-DB9E-C7BBDAA37FB2}"/>
          </ac:spMkLst>
        </pc:spChg>
        <pc:spChg chg="mod">
          <ac:chgData name="Yiqun Dai" userId="360a2182-b97f-4635-b990-04f846616e33" providerId="ADAL" clId="{8F04EA49-0EFC-48F3-A4D8-E0F0D3B461A8}" dt="2025-11-06T08:00:28.304" v="202403"/>
          <ac:spMkLst>
            <pc:docMk/>
            <pc:sldMk cId="2265687033" sldId="2147483067"/>
            <ac:spMk id="177" creationId="{2227C944-5F64-54DD-8D90-D9373A8C40CD}"/>
          </ac:spMkLst>
        </pc:spChg>
        <pc:spChg chg="mod ord">
          <ac:chgData name="Yiqun Dai" userId="360a2182-b97f-4635-b990-04f846616e33" providerId="ADAL" clId="{8F04EA49-0EFC-48F3-A4D8-E0F0D3B461A8}" dt="2025-11-06T08:00:28.304" v="202405"/>
          <ac:spMkLst>
            <pc:docMk/>
            <pc:sldMk cId="2265687033" sldId="2147483067"/>
            <ac:spMk id="178" creationId="{408D333C-885C-F219-4AC1-5BBDCA7F8202}"/>
          </ac:spMkLst>
        </pc:spChg>
        <pc:spChg chg="mod ord">
          <ac:chgData name="Yiqun Dai" userId="360a2182-b97f-4635-b990-04f846616e33" providerId="ADAL" clId="{8F04EA49-0EFC-48F3-A4D8-E0F0D3B461A8}" dt="2025-11-06T08:00:28.304" v="202407"/>
          <ac:spMkLst>
            <pc:docMk/>
            <pc:sldMk cId="2265687033" sldId="2147483067"/>
            <ac:spMk id="179" creationId="{E3ADB973-B86C-A8D8-4DF1-BCA79C77085F}"/>
          </ac:spMkLst>
        </pc:spChg>
        <pc:spChg chg="mod ord">
          <ac:chgData name="Yiqun Dai" userId="360a2182-b97f-4635-b990-04f846616e33" providerId="ADAL" clId="{8F04EA49-0EFC-48F3-A4D8-E0F0D3B461A8}" dt="2025-11-06T08:00:28.304" v="202415"/>
          <ac:spMkLst>
            <pc:docMk/>
            <pc:sldMk cId="2265687033" sldId="2147483067"/>
            <ac:spMk id="204" creationId="{E33A0E38-EF05-A12A-5488-8106BB4A975C}"/>
          </ac:spMkLst>
        </pc:spChg>
        <pc:spChg chg="mod ord">
          <ac:chgData name="Yiqun Dai" userId="360a2182-b97f-4635-b990-04f846616e33" providerId="ADAL" clId="{8F04EA49-0EFC-48F3-A4D8-E0F0D3B461A8}" dt="2025-11-06T08:00:28.259" v="202348"/>
          <ac:spMkLst>
            <pc:docMk/>
            <pc:sldMk cId="2265687033" sldId="2147483067"/>
            <ac:spMk id="206" creationId="{A9CBA749-87E5-5159-27BD-0B1EBF41BFF2}"/>
          </ac:spMkLst>
        </pc:spChg>
        <pc:spChg chg="mod ord">
          <ac:chgData name="Yiqun Dai" userId="360a2182-b97f-4635-b990-04f846616e33" providerId="ADAL" clId="{8F04EA49-0EFC-48F3-A4D8-E0F0D3B461A8}" dt="2025-11-06T08:00:28.259" v="202342"/>
          <ac:spMkLst>
            <pc:docMk/>
            <pc:sldMk cId="2265687033" sldId="2147483067"/>
            <ac:spMk id="257" creationId="{65871008-708A-D1F2-A20B-D290C2E17530}"/>
          </ac:spMkLst>
        </pc:spChg>
        <pc:spChg chg="mod ord">
          <ac:chgData name="Yiqun Dai" userId="360a2182-b97f-4635-b990-04f846616e33" providerId="ADAL" clId="{8F04EA49-0EFC-48F3-A4D8-E0F0D3B461A8}" dt="2025-11-06T08:00:28.259" v="202344"/>
          <ac:spMkLst>
            <pc:docMk/>
            <pc:sldMk cId="2265687033" sldId="2147483067"/>
            <ac:spMk id="258" creationId="{93AC9866-411D-5775-C415-E9BC43650CDB}"/>
          </ac:spMkLst>
        </pc:spChg>
        <pc:spChg chg="mod ord">
          <ac:chgData name="Yiqun Dai" userId="360a2182-b97f-4635-b990-04f846616e33" providerId="ADAL" clId="{8F04EA49-0EFC-48F3-A4D8-E0F0D3B461A8}" dt="2025-11-06T08:00:28.259" v="202346"/>
          <ac:spMkLst>
            <pc:docMk/>
            <pc:sldMk cId="2265687033" sldId="2147483067"/>
            <ac:spMk id="259" creationId="{39EC5D54-FD41-DF16-55C9-3FC5DCFFA1B2}"/>
          </ac:spMkLst>
        </pc:spChg>
        <pc:graphicFrameChg chg="mod">
          <ac:chgData name="Yiqun Dai" userId="360a2182-b97f-4635-b990-04f846616e33" providerId="ADAL" clId="{8F04EA49-0EFC-48F3-A4D8-E0F0D3B461A8}" dt="2025-11-06T08:14:36.867" v="203268"/>
          <ac:graphicFrameMkLst>
            <pc:docMk/>
            <pc:sldMk cId="2265687033" sldId="2147483067"/>
            <ac:graphicFrameMk id="11" creationId="{623E8C39-21FC-667D-2871-85E045FA65B6}"/>
          </ac:graphicFrameMkLst>
        </pc:graphicFrameChg>
        <pc:graphicFrameChg chg="add mod ord">
          <ac:chgData name="Yiqun Dai" userId="360a2182-b97f-4635-b990-04f846616e33" providerId="ADAL" clId="{8F04EA49-0EFC-48F3-A4D8-E0F0D3B461A8}" dt="2025-11-06T08:00:28.272" v="202366"/>
          <ac:graphicFrameMkLst>
            <pc:docMk/>
            <pc:sldMk cId="2265687033" sldId="2147483067"/>
            <ac:graphicFrameMk id="38" creationId="{F1CC02A7-375C-5B95-DCB8-1E99646A9F1B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6T08:01:26.887" v="202421" actId="207"/>
          <ac:graphicFrameMkLst>
            <pc:docMk/>
            <pc:sldMk cId="2265687033" sldId="2147483067"/>
            <ac:graphicFrameMk id="198" creationId="{EB14329C-B016-DDA5-411C-33D768FB7A83}"/>
          </ac:graphicFrameMkLst>
        </pc:graphicFrameChg>
        <pc:cxnChg chg="mod ord">
          <ac:chgData name="Yiqun Dai" userId="360a2182-b97f-4635-b990-04f846616e33" providerId="ADAL" clId="{8F04EA49-0EFC-48F3-A4D8-E0F0D3B461A8}" dt="2025-11-06T08:00:28.272" v="202352"/>
          <ac:cxnSpMkLst>
            <pc:docMk/>
            <pc:sldMk cId="2265687033" sldId="2147483067"/>
            <ac:cxnSpMk id="8" creationId="{3DA113EA-EFF2-DC13-C120-D4C5C30640E2}"/>
          </ac:cxnSpMkLst>
        </pc:cxnChg>
        <pc:cxnChg chg="mod ord">
          <ac:chgData name="Yiqun Dai" userId="360a2182-b97f-4635-b990-04f846616e33" providerId="ADAL" clId="{8F04EA49-0EFC-48F3-A4D8-E0F0D3B461A8}" dt="2025-11-06T08:00:28.272" v="202354"/>
          <ac:cxnSpMkLst>
            <pc:docMk/>
            <pc:sldMk cId="2265687033" sldId="2147483067"/>
            <ac:cxnSpMk id="9" creationId="{989CBBE3-BDE3-FEE3-17B4-DEC5AFE71E0F}"/>
          </ac:cxnSpMkLst>
        </pc:cxnChg>
        <pc:cxnChg chg="mod ord">
          <ac:chgData name="Yiqun Dai" userId="360a2182-b97f-4635-b990-04f846616e33" providerId="ADAL" clId="{8F04EA49-0EFC-48F3-A4D8-E0F0D3B461A8}" dt="2025-11-06T08:00:28.272" v="202358"/>
          <ac:cxnSpMkLst>
            <pc:docMk/>
            <pc:sldMk cId="2265687033" sldId="2147483067"/>
            <ac:cxnSpMk id="48" creationId="{1FF2E356-78C4-D687-0F7C-F47D2101AC16}"/>
          </ac:cxnSpMkLst>
        </pc:cxnChg>
        <pc:cxnChg chg="mod ord">
          <ac:chgData name="Yiqun Dai" userId="360a2182-b97f-4635-b990-04f846616e33" providerId="ADAL" clId="{8F04EA49-0EFC-48F3-A4D8-E0F0D3B461A8}" dt="2025-11-06T08:00:28.272" v="202356"/>
          <ac:cxnSpMkLst>
            <pc:docMk/>
            <pc:sldMk cId="2265687033" sldId="2147483067"/>
            <ac:cxnSpMk id="81" creationId="{5BDCB090-2E0C-98AB-B4DE-3FFD4BCDAAB9}"/>
          </ac:cxnSpMkLst>
        </pc:cxnChg>
        <pc:cxnChg chg="mod ord">
          <ac:chgData name="Yiqun Dai" userId="360a2182-b97f-4635-b990-04f846616e33" providerId="ADAL" clId="{8F04EA49-0EFC-48F3-A4D8-E0F0D3B461A8}" dt="2025-11-06T08:00:28.272" v="202360"/>
          <ac:cxnSpMkLst>
            <pc:docMk/>
            <pc:sldMk cId="2265687033" sldId="2147483067"/>
            <ac:cxnSpMk id="123" creationId="{2DB2A1E3-EF3D-89AA-314F-654FDA66C339}"/>
          </ac:cxnSpMkLst>
        </pc:cxnChg>
        <pc:cxnChg chg="mod ord">
          <ac:chgData name="Yiqun Dai" userId="360a2182-b97f-4635-b990-04f846616e33" providerId="ADAL" clId="{8F04EA49-0EFC-48F3-A4D8-E0F0D3B461A8}" dt="2025-11-06T08:00:28.272" v="202362"/>
          <ac:cxnSpMkLst>
            <pc:docMk/>
            <pc:sldMk cId="2265687033" sldId="2147483067"/>
            <ac:cxnSpMk id="124" creationId="{08F077DE-AFEA-5030-7B92-1E1AB4BE4E45}"/>
          </ac:cxnSpMkLst>
        </pc:cxnChg>
        <pc:cxnChg chg="mod ord">
          <ac:chgData name="Yiqun Dai" userId="360a2182-b97f-4635-b990-04f846616e33" providerId="ADAL" clId="{8F04EA49-0EFC-48F3-A4D8-E0F0D3B461A8}" dt="2025-11-06T08:00:28.272" v="202364"/>
          <ac:cxnSpMkLst>
            <pc:docMk/>
            <pc:sldMk cId="2265687033" sldId="2147483067"/>
            <ac:cxnSpMk id="125" creationId="{17C27A1D-CAED-17C0-5525-282E0F96E02F}"/>
          </ac:cxnSpMkLst>
        </pc:cxnChg>
      </pc:sldChg>
      <pc:sldChg chg="addSp delSp modSp add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3886973917" sldId="2147483068"/>
        </pc:sldMkLst>
        <pc:spChg chg="mod ord">
          <ac:chgData name="Yiqun Dai" userId="360a2182-b97f-4635-b990-04f846616e33" providerId="ADAL" clId="{8F04EA49-0EFC-48F3-A4D8-E0F0D3B461A8}" dt="2025-11-06T08:28:11.030" v="207236" actId="948"/>
          <ac:spMkLst>
            <pc:docMk/>
            <pc:sldMk cId="3886973917" sldId="2147483068"/>
            <ac:spMk id="2" creationId="{9970A6EF-D7F4-3E76-DE2F-A1BA2BADCEC4}"/>
          </ac:spMkLst>
        </pc:spChg>
        <pc:spChg chg="mod">
          <ac:chgData name="Yiqun Dai" userId="360a2182-b97f-4635-b990-04f846616e33" providerId="ADAL" clId="{8F04EA49-0EFC-48F3-A4D8-E0F0D3B461A8}" dt="2025-11-06T08:23:43.405" v="206965"/>
          <ac:spMkLst>
            <pc:docMk/>
            <pc:sldMk cId="3886973917" sldId="2147483068"/>
            <ac:spMk id="4" creationId="{F5E084F5-D298-188F-6ACD-1AE66C97A989}"/>
          </ac:spMkLst>
        </pc:spChg>
        <pc:spChg chg="add mod ord">
          <ac:chgData name="Yiqun Dai" userId="360a2182-b97f-4635-b990-04f846616e33" providerId="ADAL" clId="{8F04EA49-0EFC-48F3-A4D8-E0F0D3B461A8}" dt="2025-11-06T08:23:43.405" v="206960"/>
          <ac:spMkLst>
            <pc:docMk/>
            <pc:sldMk cId="3886973917" sldId="2147483068"/>
            <ac:spMk id="5" creationId="{E08D094D-6610-A13C-EF19-173E95588F17}"/>
          </ac:spMkLst>
        </pc:spChg>
        <pc:spChg chg="mod">
          <ac:chgData name="Yiqun Dai" userId="360a2182-b97f-4635-b990-04f846616e33" providerId="ADAL" clId="{8F04EA49-0EFC-48F3-A4D8-E0F0D3B461A8}" dt="2025-11-06T08:23:43.405" v="206968"/>
          <ac:spMkLst>
            <pc:docMk/>
            <pc:sldMk cId="3886973917" sldId="2147483068"/>
            <ac:spMk id="6" creationId="{7C8B1F71-927E-04C6-37D1-785C1F0C7D57}"/>
          </ac:spMkLst>
        </pc:spChg>
        <pc:spChg chg="mod">
          <ac:chgData name="Yiqun Dai" userId="360a2182-b97f-4635-b990-04f846616e33" providerId="ADAL" clId="{8F04EA49-0EFC-48F3-A4D8-E0F0D3B461A8}" dt="2025-11-06T08:23:43.413" v="206971"/>
          <ac:spMkLst>
            <pc:docMk/>
            <pc:sldMk cId="3886973917" sldId="2147483068"/>
            <ac:spMk id="7" creationId="{0CB1E022-3714-5FC1-836E-6AAA696C667A}"/>
          </ac:spMkLst>
        </pc:spChg>
        <pc:spChg chg="add mod ord">
          <ac:chgData name="Yiqun Dai" userId="360a2182-b97f-4635-b990-04f846616e33" providerId="ADAL" clId="{8F04EA49-0EFC-48F3-A4D8-E0F0D3B461A8}" dt="2025-11-06T08:23:43.405" v="206962"/>
          <ac:spMkLst>
            <pc:docMk/>
            <pc:sldMk cId="3886973917" sldId="2147483068"/>
            <ac:spMk id="10" creationId="{E34DD828-A576-4B12-7957-16699153C0A7}"/>
          </ac:spMkLst>
        </pc:spChg>
        <pc:spChg chg="mod">
          <ac:chgData name="Yiqun Dai" userId="360a2182-b97f-4635-b990-04f846616e33" providerId="ADAL" clId="{8F04EA49-0EFC-48F3-A4D8-E0F0D3B461A8}" dt="2025-11-06T08:23:43.413" v="206972"/>
          <ac:spMkLst>
            <pc:docMk/>
            <pc:sldMk cId="3886973917" sldId="2147483068"/>
            <ac:spMk id="12" creationId="{A04739D4-6F6C-B14D-E1FC-2C6FC457AC67}"/>
          </ac:spMkLst>
        </pc:spChg>
        <pc:spChg chg="mod">
          <ac:chgData name="Yiqun Dai" userId="360a2182-b97f-4635-b990-04f846616e33" providerId="ADAL" clId="{8F04EA49-0EFC-48F3-A4D8-E0F0D3B461A8}" dt="2025-11-06T08:23:43.413" v="206973"/>
          <ac:spMkLst>
            <pc:docMk/>
            <pc:sldMk cId="3886973917" sldId="2147483068"/>
            <ac:spMk id="13" creationId="{EB0A1E08-4395-6628-B4F8-39E39435ED64}"/>
          </ac:spMkLst>
        </pc:spChg>
        <pc:spChg chg="mod ord">
          <ac:chgData name="Yiqun Dai" userId="360a2182-b97f-4635-b990-04f846616e33" providerId="ADAL" clId="{8F04EA49-0EFC-48F3-A4D8-E0F0D3B461A8}" dt="2025-11-06T08:23:43.413" v="206983"/>
          <ac:spMkLst>
            <pc:docMk/>
            <pc:sldMk cId="3886973917" sldId="2147483068"/>
            <ac:spMk id="19" creationId="{F0525F11-9931-E647-9C4F-251EBF2FC582}"/>
          </ac:spMkLst>
        </pc:spChg>
        <pc:spChg chg="mod">
          <ac:chgData name="Yiqun Dai" userId="360a2182-b97f-4635-b990-04f846616e33" providerId="ADAL" clId="{8F04EA49-0EFC-48F3-A4D8-E0F0D3B461A8}" dt="2025-11-06T08:23:43.413" v="206969"/>
          <ac:spMkLst>
            <pc:docMk/>
            <pc:sldMk cId="3886973917" sldId="2147483068"/>
            <ac:spMk id="20" creationId="{0FBB3105-909B-D07E-AC9E-E40482590590}"/>
          </ac:spMkLst>
        </pc:spChg>
        <pc:spChg chg="mod">
          <ac:chgData name="Yiqun Dai" userId="360a2182-b97f-4635-b990-04f846616e33" providerId="ADAL" clId="{8F04EA49-0EFC-48F3-A4D8-E0F0D3B461A8}" dt="2025-11-06T08:23:43.413" v="206970"/>
          <ac:spMkLst>
            <pc:docMk/>
            <pc:sldMk cId="3886973917" sldId="2147483068"/>
            <ac:spMk id="21" creationId="{9A27A527-202A-DE0E-ADA8-F851526889E8}"/>
          </ac:spMkLst>
        </pc:spChg>
        <pc:spChg chg="mod">
          <ac:chgData name="Yiqun Dai" userId="360a2182-b97f-4635-b990-04f846616e33" providerId="ADAL" clId="{8F04EA49-0EFC-48F3-A4D8-E0F0D3B461A8}" dt="2025-11-06T08:23:43.413" v="206984"/>
          <ac:spMkLst>
            <pc:docMk/>
            <pc:sldMk cId="3886973917" sldId="2147483068"/>
            <ac:spMk id="22" creationId="{07AD0412-C76E-40FC-0D98-2FA6B88EF414}"/>
          </ac:spMkLst>
        </pc:spChg>
        <pc:spChg chg="mod">
          <ac:chgData name="Yiqun Dai" userId="360a2182-b97f-4635-b990-04f846616e33" providerId="ADAL" clId="{8F04EA49-0EFC-48F3-A4D8-E0F0D3B461A8}" dt="2025-11-06T08:23:43.405" v="206967"/>
          <ac:spMkLst>
            <pc:docMk/>
            <pc:sldMk cId="3886973917" sldId="2147483068"/>
            <ac:spMk id="80" creationId="{6CB35EDF-28DC-E624-7C67-3140771273CC}"/>
          </ac:spMkLst>
        </pc:spChg>
        <pc:spChg chg="mod">
          <ac:chgData name="Yiqun Dai" userId="360a2182-b97f-4635-b990-04f846616e33" providerId="ADAL" clId="{8F04EA49-0EFC-48F3-A4D8-E0F0D3B461A8}" dt="2025-11-06T08:23:43.413" v="206982"/>
          <ac:spMkLst>
            <pc:docMk/>
            <pc:sldMk cId="3886973917" sldId="2147483068"/>
            <ac:spMk id="89" creationId="{5A56040A-3C2F-1E3E-7603-FFC82FABA46A}"/>
          </ac:spMkLst>
        </pc:spChg>
        <pc:spChg chg="mod">
          <ac:chgData name="Yiqun Dai" userId="360a2182-b97f-4635-b990-04f846616e33" providerId="ADAL" clId="{8F04EA49-0EFC-48F3-A4D8-E0F0D3B461A8}" dt="2025-11-06T08:23:43.405" v="206966"/>
          <ac:spMkLst>
            <pc:docMk/>
            <pc:sldMk cId="3886973917" sldId="2147483068"/>
            <ac:spMk id="92" creationId="{9457E7E1-090A-80B4-A238-F81BA65B631F}"/>
          </ac:spMkLst>
        </pc:spChg>
        <pc:spChg chg="mod">
          <ac:chgData name="Yiqun Dai" userId="360a2182-b97f-4635-b990-04f846616e33" providerId="ADAL" clId="{8F04EA49-0EFC-48F3-A4D8-E0F0D3B461A8}" dt="2025-11-06T08:23:43.413" v="206976"/>
          <ac:spMkLst>
            <pc:docMk/>
            <pc:sldMk cId="3886973917" sldId="2147483068"/>
            <ac:spMk id="109" creationId="{BCFD8F76-81F7-198A-7D9E-7B1C062C3FD6}"/>
          </ac:spMkLst>
        </pc:spChg>
        <pc:spChg chg="mod">
          <ac:chgData name="Yiqun Dai" userId="360a2182-b97f-4635-b990-04f846616e33" providerId="ADAL" clId="{8F04EA49-0EFC-48F3-A4D8-E0F0D3B461A8}" dt="2025-11-06T08:23:43.413" v="206980"/>
          <ac:spMkLst>
            <pc:docMk/>
            <pc:sldMk cId="3886973917" sldId="2147483068"/>
            <ac:spMk id="110" creationId="{1EE13986-FA34-D981-E3D8-ED83417B5963}"/>
          </ac:spMkLst>
        </pc:spChg>
        <pc:spChg chg="mod">
          <ac:chgData name="Yiqun Dai" userId="360a2182-b97f-4635-b990-04f846616e33" providerId="ADAL" clId="{8F04EA49-0EFC-48F3-A4D8-E0F0D3B461A8}" dt="2025-11-06T08:23:43.413" v="206981"/>
          <ac:spMkLst>
            <pc:docMk/>
            <pc:sldMk cId="3886973917" sldId="2147483068"/>
            <ac:spMk id="111" creationId="{09B180F5-B3BA-6814-1318-44449594634F}"/>
          </ac:spMkLst>
        </pc:spChg>
        <pc:spChg chg="mod">
          <ac:chgData name="Yiqun Dai" userId="360a2182-b97f-4635-b990-04f846616e33" providerId="ADAL" clId="{8F04EA49-0EFC-48F3-A4D8-E0F0D3B461A8}" dt="2025-11-06T08:23:43.413" v="206985"/>
          <ac:spMkLst>
            <pc:docMk/>
            <pc:sldMk cId="3886973917" sldId="2147483068"/>
            <ac:spMk id="114" creationId="{6C964B05-50CC-A489-CC24-634C0D803193}"/>
          </ac:spMkLst>
        </pc:spChg>
        <pc:spChg chg="mod">
          <ac:chgData name="Yiqun Dai" userId="360a2182-b97f-4635-b990-04f846616e33" providerId="ADAL" clId="{8F04EA49-0EFC-48F3-A4D8-E0F0D3B461A8}" dt="2025-11-06T08:23:43.413" v="206975"/>
          <ac:spMkLst>
            <pc:docMk/>
            <pc:sldMk cId="3886973917" sldId="2147483068"/>
            <ac:spMk id="115" creationId="{1A7528E1-84A5-31C6-A191-DAE389818B2C}"/>
          </ac:spMkLst>
        </pc:spChg>
        <pc:spChg chg="mod">
          <ac:chgData name="Yiqun Dai" userId="360a2182-b97f-4635-b990-04f846616e33" providerId="ADAL" clId="{8F04EA49-0EFC-48F3-A4D8-E0F0D3B461A8}" dt="2025-11-06T08:23:43.413" v="206974"/>
          <ac:spMkLst>
            <pc:docMk/>
            <pc:sldMk cId="3886973917" sldId="2147483068"/>
            <ac:spMk id="116" creationId="{F1A5D0DB-00A3-AC91-1982-C565429D34BB}"/>
          </ac:spMkLst>
        </pc:spChg>
        <pc:spChg chg="mod">
          <ac:chgData name="Yiqun Dai" userId="360a2182-b97f-4635-b990-04f846616e33" providerId="ADAL" clId="{8F04EA49-0EFC-48F3-A4D8-E0F0D3B461A8}" dt="2025-11-06T08:23:43.422" v="206986"/>
          <ac:spMkLst>
            <pc:docMk/>
            <pc:sldMk cId="3886973917" sldId="2147483068"/>
            <ac:spMk id="117" creationId="{6B344B66-33B6-0C60-F022-3186E97E80B0}"/>
          </ac:spMkLst>
        </pc:spChg>
        <pc:spChg chg="mod ord">
          <ac:chgData name="Yiqun Dai" userId="360a2182-b97f-4635-b990-04f846616e33" providerId="ADAL" clId="{8F04EA49-0EFC-48F3-A4D8-E0F0D3B461A8}" dt="2025-11-06T08:23:43.413" v="206979"/>
          <ac:spMkLst>
            <pc:docMk/>
            <pc:sldMk cId="3886973917" sldId="2147483068"/>
            <ac:spMk id="118" creationId="{983964B9-60F4-AFD4-F470-A66F4ECB9675}"/>
          </ac:spMkLst>
        </pc:spChg>
        <pc:spChg chg="mod">
          <ac:chgData name="Yiqun Dai" userId="360a2182-b97f-4635-b990-04f846616e33" providerId="ADAL" clId="{8F04EA49-0EFC-48F3-A4D8-E0F0D3B461A8}" dt="2025-11-06T08:23:43.413" v="206977"/>
          <ac:spMkLst>
            <pc:docMk/>
            <pc:sldMk cId="3886973917" sldId="2147483068"/>
            <ac:spMk id="119" creationId="{5B691B65-B77F-2D3D-423C-C26ED77BE1A8}"/>
          </ac:spMkLst>
        </pc:spChg>
        <pc:spChg chg="mod">
          <ac:chgData name="Yiqun Dai" userId="360a2182-b97f-4635-b990-04f846616e33" providerId="ADAL" clId="{8F04EA49-0EFC-48F3-A4D8-E0F0D3B461A8}" dt="2025-11-06T08:23:43.422" v="206987"/>
          <ac:spMkLst>
            <pc:docMk/>
            <pc:sldMk cId="3886973917" sldId="2147483068"/>
            <ac:spMk id="121" creationId="{72B4C377-C68A-F67B-5CB9-B403E1017CDB}"/>
          </ac:spMkLst>
        </pc:spChg>
        <pc:spChg chg="mod">
          <ac:chgData name="Yiqun Dai" userId="360a2182-b97f-4635-b990-04f846616e33" providerId="ADAL" clId="{8F04EA49-0EFC-48F3-A4D8-E0F0D3B461A8}" dt="2025-11-06T08:25:11.631" v="207059"/>
          <ac:spMkLst>
            <pc:docMk/>
            <pc:sldMk cId="3886973917" sldId="2147483068"/>
            <ac:spMk id="170" creationId="{2CB569ED-2F9E-7782-F883-188A4F7C1339}"/>
          </ac:spMkLst>
        </pc:spChg>
        <pc:spChg chg="mod">
          <ac:chgData name="Yiqun Dai" userId="360a2182-b97f-4635-b990-04f846616e33" providerId="ADAL" clId="{8F04EA49-0EFC-48F3-A4D8-E0F0D3B461A8}" dt="2025-11-06T08:25:11.634" v="207063"/>
          <ac:spMkLst>
            <pc:docMk/>
            <pc:sldMk cId="3886973917" sldId="2147483068"/>
            <ac:spMk id="171" creationId="{6658E312-D432-241C-9E37-68AAF9AE6755}"/>
          </ac:spMkLst>
        </pc:spChg>
        <pc:spChg chg="mod">
          <ac:chgData name="Yiqun Dai" userId="360a2182-b97f-4635-b990-04f846616e33" providerId="ADAL" clId="{8F04EA49-0EFC-48F3-A4D8-E0F0D3B461A8}" dt="2025-11-06T08:25:11.634" v="207069"/>
          <ac:spMkLst>
            <pc:docMk/>
            <pc:sldMk cId="3886973917" sldId="2147483068"/>
            <ac:spMk id="172" creationId="{117F4BFE-EDE6-EB41-D573-78E78A92D95C}"/>
          </ac:spMkLst>
        </pc:spChg>
        <pc:spChg chg="mod">
          <ac:chgData name="Yiqun Dai" userId="360a2182-b97f-4635-b990-04f846616e33" providerId="ADAL" clId="{8F04EA49-0EFC-48F3-A4D8-E0F0D3B461A8}" dt="2025-11-06T08:25:11.634" v="207075"/>
          <ac:spMkLst>
            <pc:docMk/>
            <pc:sldMk cId="3886973917" sldId="2147483068"/>
            <ac:spMk id="173" creationId="{812C6D4F-3E1F-AB6B-3D67-D7F6D1CBDB20}"/>
          </ac:spMkLst>
        </pc:spChg>
        <pc:spChg chg="mod ord">
          <ac:chgData name="Yiqun Dai" userId="360a2182-b97f-4635-b990-04f846616e33" providerId="ADAL" clId="{8F04EA49-0EFC-48F3-A4D8-E0F0D3B461A8}" dt="2025-11-06T08:25:11.619" v="207057"/>
          <ac:spMkLst>
            <pc:docMk/>
            <pc:sldMk cId="3886973917" sldId="2147483068"/>
            <ac:spMk id="176" creationId="{3D77F2A2-059F-1D0F-2A3D-8DE9AC14EBE8}"/>
          </ac:spMkLst>
        </pc:spChg>
        <pc:spChg chg="mod">
          <ac:chgData name="Yiqun Dai" userId="360a2182-b97f-4635-b990-04f846616e33" providerId="ADAL" clId="{8F04EA49-0EFC-48F3-A4D8-E0F0D3B461A8}" dt="2025-11-06T08:25:11.634" v="207061"/>
          <ac:spMkLst>
            <pc:docMk/>
            <pc:sldMk cId="3886973917" sldId="2147483068"/>
            <ac:spMk id="177" creationId="{DB78BA33-86DE-46C0-EF5E-5F8811F56744}"/>
          </ac:spMkLst>
        </pc:spChg>
        <pc:spChg chg="mod ord">
          <ac:chgData name="Yiqun Dai" userId="360a2182-b97f-4635-b990-04f846616e33" providerId="ADAL" clId="{8F04EA49-0EFC-48F3-A4D8-E0F0D3B461A8}" dt="2025-11-06T08:25:11.634" v="207067"/>
          <ac:spMkLst>
            <pc:docMk/>
            <pc:sldMk cId="3886973917" sldId="2147483068"/>
            <ac:spMk id="178" creationId="{6B9E6325-A5E8-D050-447E-1B2E9274C877}"/>
          </ac:spMkLst>
        </pc:spChg>
        <pc:spChg chg="mod ord">
          <ac:chgData name="Yiqun Dai" userId="360a2182-b97f-4635-b990-04f846616e33" providerId="ADAL" clId="{8F04EA49-0EFC-48F3-A4D8-E0F0D3B461A8}" dt="2025-11-06T08:25:11.634" v="207073"/>
          <ac:spMkLst>
            <pc:docMk/>
            <pc:sldMk cId="3886973917" sldId="2147483068"/>
            <ac:spMk id="179" creationId="{3426CCAD-C354-161C-243C-328A2C4AD4F4}"/>
          </ac:spMkLst>
        </pc:spChg>
        <pc:spChg chg="mod ord">
          <ac:chgData name="Yiqun Dai" userId="360a2182-b97f-4635-b990-04f846616e33" providerId="ADAL" clId="{8F04EA49-0EFC-48F3-A4D8-E0F0D3B461A8}" dt="2025-11-06T08:23:48.540" v="207007"/>
          <ac:spMkLst>
            <pc:docMk/>
            <pc:sldMk cId="3886973917" sldId="2147483068"/>
            <ac:spMk id="204" creationId="{026A0374-6720-EB09-3AA8-071FE3F41222}"/>
          </ac:spMkLst>
        </pc:spChg>
        <pc:spChg chg="mod ord">
          <ac:chgData name="Yiqun Dai" userId="360a2182-b97f-4635-b990-04f846616e33" providerId="ADAL" clId="{8F04EA49-0EFC-48F3-A4D8-E0F0D3B461A8}" dt="2025-11-06T08:23:43.392" v="206942"/>
          <ac:spMkLst>
            <pc:docMk/>
            <pc:sldMk cId="3886973917" sldId="2147483068"/>
            <ac:spMk id="206" creationId="{063C4E78-A95F-B29C-3186-9748EC32530C}"/>
          </ac:spMkLst>
        </pc:spChg>
        <pc:spChg chg="mod ord">
          <ac:chgData name="Yiqun Dai" userId="360a2182-b97f-4635-b990-04f846616e33" providerId="ADAL" clId="{8F04EA49-0EFC-48F3-A4D8-E0F0D3B461A8}" dt="2025-11-06T08:23:43.392" v="206936"/>
          <ac:spMkLst>
            <pc:docMk/>
            <pc:sldMk cId="3886973917" sldId="2147483068"/>
            <ac:spMk id="257" creationId="{42748495-6D98-D923-FC6F-B16A5AE9A0E8}"/>
          </ac:spMkLst>
        </pc:spChg>
        <pc:spChg chg="mod ord">
          <ac:chgData name="Yiqun Dai" userId="360a2182-b97f-4635-b990-04f846616e33" providerId="ADAL" clId="{8F04EA49-0EFC-48F3-A4D8-E0F0D3B461A8}" dt="2025-11-06T08:23:43.392" v="206938"/>
          <ac:spMkLst>
            <pc:docMk/>
            <pc:sldMk cId="3886973917" sldId="2147483068"/>
            <ac:spMk id="258" creationId="{FFA9D136-7447-861D-88B4-C05D8D01F69B}"/>
          </ac:spMkLst>
        </pc:spChg>
        <pc:spChg chg="mod ord">
          <ac:chgData name="Yiqun Dai" userId="360a2182-b97f-4635-b990-04f846616e33" providerId="ADAL" clId="{8F04EA49-0EFC-48F3-A4D8-E0F0D3B461A8}" dt="2025-11-06T08:23:43.392" v="206940"/>
          <ac:spMkLst>
            <pc:docMk/>
            <pc:sldMk cId="3886973917" sldId="2147483068"/>
            <ac:spMk id="259" creationId="{C6898ADB-8B56-1162-85A9-49EF365BE7C4}"/>
          </ac:spMkLst>
        </pc:spChg>
        <pc:graphicFrameChg chg="mod">
          <ac:chgData name="Yiqun Dai" userId="360a2182-b97f-4635-b990-04f846616e33" providerId="ADAL" clId="{8F04EA49-0EFC-48F3-A4D8-E0F0D3B461A8}" dt="2025-11-06T08:28:11.030" v="207238"/>
          <ac:graphicFrameMkLst>
            <pc:docMk/>
            <pc:sldMk cId="3886973917" sldId="2147483068"/>
            <ac:graphicFrameMk id="11" creationId="{0A75078C-6045-2738-2C8A-213E6B0D93CE}"/>
          </ac:graphicFrameMkLst>
        </pc:graphicFrameChg>
        <pc:graphicFrameChg chg="add mod ord">
          <ac:chgData name="Yiqun Dai" userId="360a2182-b97f-4635-b990-04f846616e33" providerId="ADAL" clId="{8F04EA49-0EFC-48F3-A4D8-E0F0D3B461A8}" dt="2025-11-06T08:23:43.405" v="206964"/>
          <ac:graphicFrameMkLst>
            <pc:docMk/>
            <pc:sldMk cId="3886973917" sldId="2147483068"/>
            <ac:graphicFrameMk id="49" creationId="{BD52020E-4608-C0FA-22DA-5994ECE51AD2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6T08:23:43.424" v="207000"/>
          <ac:graphicFrameMkLst>
            <pc:docMk/>
            <pc:sldMk cId="3886973917" sldId="2147483068"/>
            <ac:graphicFrameMk id="198" creationId="{D6C62101-7991-05DA-1B5F-CC66A331F290}"/>
          </ac:graphicFrameMkLst>
        </pc:graphicFrameChg>
        <pc:cxnChg chg="mod ord">
          <ac:chgData name="Yiqun Dai" userId="360a2182-b97f-4635-b990-04f846616e33" providerId="ADAL" clId="{8F04EA49-0EFC-48F3-A4D8-E0F0D3B461A8}" dt="2025-11-06T08:23:43.392" v="206946"/>
          <ac:cxnSpMkLst>
            <pc:docMk/>
            <pc:sldMk cId="3886973917" sldId="2147483068"/>
            <ac:cxnSpMk id="8" creationId="{349C3BDB-AFDB-BC26-CF96-540D5CA701E5}"/>
          </ac:cxnSpMkLst>
        </pc:cxnChg>
        <pc:cxnChg chg="mod ord">
          <ac:chgData name="Yiqun Dai" userId="360a2182-b97f-4635-b990-04f846616e33" providerId="ADAL" clId="{8F04EA49-0EFC-48F3-A4D8-E0F0D3B461A8}" dt="2025-11-06T08:23:43.392" v="206948"/>
          <ac:cxnSpMkLst>
            <pc:docMk/>
            <pc:sldMk cId="3886973917" sldId="2147483068"/>
            <ac:cxnSpMk id="9" creationId="{7B8747F6-69D3-75E9-E143-2E4C48BA9941}"/>
          </ac:cxnSpMkLst>
        </pc:cxnChg>
        <pc:cxnChg chg="mod ord">
          <ac:chgData name="Yiqun Dai" userId="360a2182-b97f-4635-b990-04f846616e33" providerId="ADAL" clId="{8F04EA49-0EFC-48F3-A4D8-E0F0D3B461A8}" dt="2025-11-06T08:23:43.392" v="206952"/>
          <ac:cxnSpMkLst>
            <pc:docMk/>
            <pc:sldMk cId="3886973917" sldId="2147483068"/>
            <ac:cxnSpMk id="48" creationId="{4E10008A-DE18-67ED-4D37-A78ED42443A3}"/>
          </ac:cxnSpMkLst>
        </pc:cxnChg>
        <pc:cxnChg chg="mod ord">
          <ac:chgData name="Yiqun Dai" userId="360a2182-b97f-4635-b990-04f846616e33" providerId="ADAL" clId="{8F04EA49-0EFC-48F3-A4D8-E0F0D3B461A8}" dt="2025-11-06T08:23:43.392" v="206950"/>
          <ac:cxnSpMkLst>
            <pc:docMk/>
            <pc:sldMk cId="3886973917" sldId="2147483068"/>
            <ac:cxnSpMk id="81" creationId="{8D64EF7A-C301-B243-0EA5-3D5834937E7E}"/>
          </ac:cxnSpMkLst>
        </pc:cxnChg>
        <pc:cxnChg chg="mod ord">
          <ac:chgData name="Yiqun Dai" userId="360a2182-b97f-4635-b990-04f846616e33" providerId="ADAL" clId="{8F04EA49-0EFC-48F3-A4D8-E0F0D3B461A8}" dt="2025-11-06T08:23:43.405" v="206954"/>
          <ac:cxnSpMkLst>
            <pc:docMk/>
            <pc:sldMk cId="3886973917" sldId="2147483068"/>
            <ac:cxnSpMk id="123" creationId="{E8E4CD0B-292A-AC18-4B10-E55F788BD7BC}"/>
          </ac:cxnSpMkLst>
        </pc:cxnChg>
        <pc:cxnChg chg="mod ord">
          <ac:chgData name="Yiqun Dai" userId="360a2182-b97f-4635-b990-04f846616e33" providerId="ADAL" clId="{8F04EA49-0EFC-48F3-A4D8-E0F0D3B461A8}" dt="2025-11-06T08:23:43.405" v="206956"/>
          <ac:cxnSpMkLst>
            <pc:docMk/>
            <pc:sldMk cId="3886973917" sldId="2147483068"/>
            <ac:cxnSpMk id="124" creationId="{CD8A67BA-A42B-8FE0-BAB3-E1AD240686C4}"/>
          </ac:cxnSpMkLst>
        </pc:cxnChg>
        <pc:cxnChg chg="mod ord">
          <ac:chgData name="Yiqun Dai" userId="360a2182-b97f-4635-b990-04f846616e33" providerId="ADAL" clId="{8F04EA49-0EFC-48F3-A4D8-E0F0D3B461A8}" dt="2025-11-06T08:23:43.405" v="206958"/>
          <ac:cxnSpMkLst>
            <pc:docMk/>
            <pc:sldMk cId="3886973917" sldId="2147483068"/>
            <ac:cxnSpMk id="125" creationId="{EB10ECA9-0186-FBF8-65FD-0DCE6D5DF786}"/>
          </ac:cxnSpMkLst>
        </pc:cxnChg>
      </pc:sldChg>
      <pc:sldChg chg="new del ord">
        <pc:chgData name="Yiqun Dai" userId="360a2182-b97f-4635-b990-04f846616e33" providerId="ADAL" clId="{8F04EA49-0EFC-48F3-A4D8-E0F0D3B461A8}" dt="2025-11-10T02:46:26.477" v="282994" actId="47"/>
        <pc:sldMkLst>
          <pc:docMk/>
          <pc:sldMk cId="1638687721" sldId="2147483069"/>
        </pc:sldMkLst>
      </pc:sldChg>
      <pc:sldChg chg="addSp delSp modSp add mod ord">
        <pc:chgData name="Yiqun Dai" userId="360a2182-b97f-4635-b990-04f846616e33" providerId="ADAL" clId="{8F04EA49-0EFC-48F3-A4D8-E0F0D3B461A8}" dt="2025-11-10T01:33:49.411" v="282991"/>
        <pc:sldMkLst>
          <pc:docMk/>
          <pc:sldMk cId="2899142470" sldId="2147483070"/>
        </pc:sldMkLst>
        <pc:spChg chg="mod ord">
          <ac:chgData name="Yiqun Dai" userId="360a2182-b97f-4635-b990-04f846616e33" providerId="ADAL" clId="{8F04EA49-0EFC-48F3-A4D8-E0F0D3B461A8}" dt="2025-11-07T06:08:21.588" v="226656"/>
          <ac:spMkLst>
            <pc:docMk/>
            <pc:sldMk cId="2899142470" sldId="2147483070"/>
            <ac:spMk id="2" creationId="{F25AEF0F-A188-A557-9F92-FCEC301761CD}"/>
          </ac:spMkLst>
        </pc:spChg>
        <pc:spChg chg="add mod">
          <ac:chgData name="Yiqun Dai" userId="360a2182-b97f-4635-b990-04f846616e33" providerId="ADAL" clId="{8F04EA49-0EFC-48F3-A4D8-E0F0D3B461A8}" dt="2025-11-07T06:08:21.608" v="226679"/>
          <ac:spMkLst>
            <pc:docMk/>
            <pc:sldMk cId="2899142470" sldId="2147483070"/>
            <ac:spMk id="3" creationId="{0DD94722-AD7E-E114-A3B2-DE7CF1823F6C}"/>
          </ac:spMkLst>
        </pc:spChg>
        <pc:spChg chg="mod">
          <ac:chgData name="Yiqun Dai" userId="360a2182-b97f-4635-b990-04f846616e33" providerId="ADAL" clId="{8F04EA49-0EFC-48F3-A4D8-E0F0D3B461A8}" dt="2025-11-07T06:08:21.619" v="226700"/>
          <ac:spMkLst>
            <pc:docMk/>
            <pc:sldMk cId="2899142470" sldId="2147483070"/>
            <ac:spMk id="4" creationId="{0CAC4A56-E311-E90E-8A29-B3D118A2692E}"/>
          </ac:spMkLst>
        </pc:spChg>
        <pc:spChg chg="add mod">
          <ac:chgData name="Yiqun Dai" userId="360a2182-b97f-4635-b990-04f846616e33" providerId="ADAL" clId="{8F04EA49-0EFC-48F3-A4D8-E0F0D3B461A8}" dt="2025-11-07T06:08:21.611" v="226682"/>
          <ac:spMkLst>
            <pc:docMk/>
            <pc:sldMk cId="2899142470" sldId="2147483070"/>
            <ac:spMk id="5" creationId="{8E3FD90C-EFB1-20AA-091F-952CC2FD0731}"/>
          </ac:spMkLst>
        </pc:spChg>
        <pc:spChg chg="mod">
          <ac:chgData name="Yiqun Dai" userId="360a2182-b97f-4635-b990-04f846616e33" providerId="ADAL" clId="{8F04EA49-0EFC-48F3-A4D8-E0F0D3B461A8}" dt="2025-11-07T06:08:21.627" v="226706"/>
          <ac:spMkLst>
            <pc:docMk/>
            <pc:sldMk cId="2899142470" sldId="2147483070"/>
            <ac:spMk id="6" creationId="{5C601F02-2A68-F1C2-3008-83BA2D842C0D}"/>
          </ac:spMkLst>
        </pc:spChg>
        <pc:spChg chg="mod">
          <ac:chgData name="Yiqun Dai" userId="360a2182-b97f-4635-b990-04f846616e33" providerId="ADAL" clId="{8F04EA49-0EFC-48F3-A4D8-E0F0D3B461A8}" dt="2025-11-07T06:08:21.627" v="226709"/>
          <ac:spMkLst>
            <pc:docMk/>
            <pc:sldMk cId="2899142470" sldId="2147483070"/>
            <ac:spMk id="7" creationId="{3F20AAF8-379C-D37E-F24E-0525047BDC63}"/>
          </ac:spMkLst>
        </pc:spChg>
        <pc:spChg chg="add mod">
          <ac:chgData name="Yiqun Dai" userId="360a2182-b97f-4635-b990-04f846616e33" providerId="ADAL" clId="{8F04EA49-0EFC-48F3-A4D8-E0F0D3B461A8}" dt="2025-11-07T06:08:21.635" v="226714"/>
          <ac:spMkLst>
            <pc:docMk/>
            <pc:sldMk cId="2899142470" sldId="2147483070"/>
            <ac:spMk id="10" creationId="{44850864-58DA-7AB8-4291-66CE43897D1A}"/>
          </ac:spMkLst>
        </pc:spChg>
        <pc:spChg chg="mod">
          <ac:chgData name="Yiqun Dai" userId="360a2182-b97f-4635-b990-04f846616e33" providerId="ADAL" clId="{8F04EA49-0EFC-48F3-A4D8-E0F0D3B461A8}" dt="2025-11-07T06:08:21.612" v="226686"/>
          <ac:spMkLst>
            <pc:docMk/>
            <pc:sldMk cId="2899142470" sldId="2147483070"/>
            <ac:spMk id="12" creationId="{8E9B598D-1A8D-8A28-3F8A-77C2CCD4E69C}"/>
          </ac:spMkLst>
        </pc:spChg>
        <pc:spChg chg="mod">
          <ac:chgData name="Yiqun Dai" userId="360a2182-b97f-4635-b990-04f846616e33" providerId="ADAL" clId="{8F04EA49-0EFC-48F3-A4D8-E0F0D3B461A8}" dt="2025-11-07T06:08:21.612" v="226689"/>
          <ac:spMkLst>
            <pc:docMk/>
            <pc:sldMk cId="2899142470" sldId="2147483070"/>
            <ac:spMk id="13" creationId="{87BF8D50-56E3-FDD3-C683-3DD323BBC5F2}"/>
          </ac:spMkLst>
        </pc:spChg>
        <pc:spChg chg="add mod">
          <ac:chgData name="Yiqun Dai" userId="360a2182-b97f-4635-b990-04f846616e33" providerId="ADAL" clId="{8F04EA49-0EFC-48F3-A4D8-E0F0D3B461A8}" dt="2025-11-07T06:08:21.627" v="226711"/>
          <ac:spMkLst>
            <pc:docMk/>
            <pc:sldMk cId="2899142470" sldId="2147483070"/>
            <ac:spMk id="14" creationId="{BCD87637-821F-D8CA-909E-4AA2C6FB9C5B}"/>
          </ac:spMkLst>
        </pc:spChg>
        <pc:spChg chg="add mod">
          <ac:chgData name="Yiqun Dai" userId="360a2182-b97f-4635-b990-04f846616e33" providerId="ADAL" clId="{8F04EA49-0EFC-48F3-A4D8-E0F0D3B461A8}" dt="2025-11-07T06:08:21.627" v="226710"/>
          <ac:spMkLst>
            <pc:docMk/>
            <pc:sldMk cId="2899142470" sldId="2147483070"/>
            <ac:spMk id="15" creationId="{A4D7BB68-3C8C-15C5-F184-18CA62D4BD42}"/>
          </ac:spMkLst>
        </pc:spChg>
        <pc:spChg chg="add mod">
          <ac:chgData name="Yiqun Dai" userId="360a2182-b97f-4635-b990-04f846616e33" providerId="ADAL" clId="{8F04EA49-0EFC-48F3-A4D8-E0F0D3B461A8}" dt="2025-11-07T06:08:21.635" v="226715"/>
          <ac:spMkLst>
            <pc:docMk/>
            <pc:sldMk cId="2899142470" sldId="2147483070"/>
            <ac:spMk id="16" creationId="{0B876B99-1AB0-0849-76D2-4265D99FAD93}"/>
          </ac:spMkLst>
        </pc:spChg>
        <pc:spChg chg="add mod">
          <ac:chgData name="Yiqun Dai" userId="360a2182-b97f-4635-b990-04f846616e33" providerId="ADAL" clId="{8F04EA49-0EFC-48F3-A4D8-E0F0D3B461A8}" dt="2025-11-07T06:08:21.608" v="226681"/>
          <ac:spMkLst>
            <pc:docMk/>
            <pc:sldMk cId="2899142470" sldId="2147483070"/>
            <ac:spMk id="17" creationId="{E038E65C-294B-820D-D280-E5926F289D19}"/>
          </ac:spMkLst>
        </pc:spChg>
        <pc:spChg chg="add mod">
          <ac:chgData name="Yiqun Dai" userId="360a2182-b97f-4635-b990-04f846616e33" providerId="ADAL" clId="{8F04EA49-0EFC-48F3-A4D8-E0F0D3B461A8}" dt="2025-11-07T06:08:21.608" v="226680"/>
          <ac:spMkLst>
            <pc:docMk/>
            <pc:sldMk cId="2899142470" sldId="2147483070"/>
            <ac:spMk id="18" creationId="{81121563-BD42-64A3-745F-C8F00D80AFFD}"/>
          </ac:spMkLst>
        </pc:spChg>
        <pc:spChg chg="mod">
          <ac:chgData name="Yiqun Dai" userId="360a2182-b97f-4635-b990-04f846616e33" providerId="ADAL" clId="{8F04EA49-0EFC-48F3-A4D8-E0F0D3B461A8}" dt="2025-11-07T06:08:21.627" v="226712"/>
          <ac:spMkLst>
            <pc:docMk/>
            <pc:sldMk cId="2899142470" sldId="2147483070"/>
            <ac:spMk id="19" creationId="{F963019A-4848-DBDD-09A9-BE1F3B4BDE01}"/>
          </ac:spMkLst>
        </pc:spChg>
        <pc:spChg chg="mod">
          <ac:chgData name="Yiqun Dai" userId="360a2182-b97f-4635-b990-04f846616e33" providerId="ADAL" clId="{8F04EA49-0EFC-48F3-A4D8-E0F0D3B461A8}" dt="2025-11-07T06:08:21.627" v="226707"/>
          <ac:spMkLst>
            <pc:docMk/>
            <pc:sldMk cId="2899142470" sldId="2147483070"/>
            <ac:spMk id="20" creationId="{5E006FFB-3945-CFD4-5017-B6E732B419FC}"/>
          </ac:spMkLst>
        </pc:spChg>
        <pc:spChg chg="mod">
          <ac:chgData name="Yiqun Dai" userId="360a2182-b97f-4635-b990-04f846616e33" providerId="ADAL" clId="{8F04EA49-0EFC-48F3-A4D8-E0F0D3B461A8}" dt="2025-11-07T06:08:21.627" v="226708"/>
          <ac:spMkLst>
            <pc:docMk/>
            <pc:sldMk cId="2899142470" sldId="2147483070"/>
            <ac:spMk id="21" creationId="{E2DDFDC7-05F0-FB01-BB82-25BBEBBDAAC0}"/>
          </ac:spMkLst>
        </pc:spChg>
        <pc:spChg chg="mod">
          <ac:chgData name="Yiqun Dai" userId="360a2182-b97f-4635-b990-04f846616e33" providerId="ADAL" clId="{8F04EA49-0EFC-48F3-A4D8-E0F0D3B461A8}" dt="2025-11-07T06:08:21.627" v="226713"/>
          <ac:spMkLst>
            <pc:docMk/>
            <pc:sldMk cId="2899142470" sldId="2147483070"/>
            <ac:spMk id="22" creationId="{8BB47AF4-D0DE-C98B-9606-2C5242F951C5}"/>
          </ac:spMkLst>
        </pc:spChg>
        <pc:spChg chg="mod">
          <ac:chgData name="Yiqun Dai" userId="360a2182-b97f-4635-b990-04f846616e33" providerId="ADAL" clId="{8F04EA49-0EFC-48F3-A4D8-E0F0D3B461A8}" dt="2025-11-07T06:08:21.635" v="226721"/>
          <ac:spMkLst>
            <pc:docMk/>
            <pc:sldMk cId="2899142470" sldId="2147483070"/>
            <ac:spMk id="24" creationId="{22827FC0-9656-B97A-CC7F-6299AB75CFFB}"/>
          </ac:spMkLst>
        </pc:spChg>
        <pc:spChg chg="add mod ord">
          <ac:chgData name="Yiqun Dai" userId="360a2182-b97f-4635-b990-04f846616e33" providerId="ADAL" clId="{8F04EA49-0EFC-48F3-A4D8-E0F0D3B461A8}" dt="2025-11-07T06:08:21.572" v="226650"/>
          <ac:spMkLst>
            <pc:docMk/>
            <pc:sldMk cId="2899142470" sldId="2147483070"/>
            <ac:spMk id="35" creationId="{55F07485-D2D8-49AA-9911-C6A4DFD0EB00}"/>
          </ac:spMkLst>
        </pc:spChg>
        <pc:spChg chg="add mod ord">
          <ac:chgData name="Yiqun Dai" userId="360a2182-b97f-4635-b990-04f846616e33" providerId="ADAL" clId="{8F04EA49-0EFC-48F3-A4D8-E0F0D3B461A8}" dt="2025-11-07T06:08:21.572" v="226648"/>
          <ac:spMkLst>
            <pc:docMk/>
            <pc:sldMk cId="2899142470" sldId="2147483070"/>
            <ac:spMk id="51" creationId="{529D6169-4D5A-5AE8-7E70-B61C46E90E24}"/>
          </ac:spMkLst>
        </pc:spChg>
        <pc:spChg chg="add mod ord">
          <ac:chgData name="Yiqun Dai" userId="360a2182-b97f-4635-b990-04f846616e33" providerId="ADAL" clId="{8F04EA49-0EFC-48F3-A4D8-E0F0D3B461A8}" dt="2025-11-07T06:08:21.572" v="226646"/>
          <ac:spMkLst>
            <pc:docMk/>
            <pc:sldMk cId="2899142470" sldId="2147483070"/>
            <ac:spMk id="52" creationId="{86DD79CF-CE1D-C9D6-A7EA-2DED078E288D}"/>
          </ac:spMkLst>
        </pc:spChg>
        <pc:spChg chg="mod">
          <ac:chgData name="Yiqun Dai" userId="360a2182-b97f-4635-b990-04f846616e33" providerId="ADAL" clId="{8F04EA49-0EFC-48F3-A4D8-E0F0D3B461A8}" dt="2025-11-07T06:08:21.612" v="226683"/>
          <ac:spMkLst>
            <pc:docMk/>
            <pc:sldMk cId="2899142470" sldId="2147483070"/>
            <ac:spMk id="64" creationId="{B5F13B52-F4F0-2A19-1E4F-BCEF2A5F9B22}"/>
          </ac:spMkLst>
        </pc:spChg>
        <pc:spChg chg="mod ord">
          <ac:chgData name="Yiqun Dai" userId="360a2182-b97f-4635-b990-04f846616e33" providerId="ADAL" clId="{8F04EA49-0EFC-48F3-A4D8-E0F0D3B461A8}" dt="2025-11-07T06:08:21.627" v="226705"/>
          <ac:spMkLst>
            <pc:docMk/>
            <pc:sldMk cId="2899142470" sldId="2147483070"/>
            <ac:spMk id="80" creationId="{2E0CBEE1-4736-4D1C-2820-0BE163CA25CA}"/>
          </ac:spMkLst>
        </pc:spChg>
        <pc:spChg chg="mod">
          <ac:chgData name="Yiqun Dai" userId="360a2182-b97f-4635-b990-04f846616e33" providerId="ADAL" clId="{8F04EA49-0EFC-48F3-A4D8-E0F0D3B461A8}" dt="2025-11-07T06:08:21.635" v="226716"/>
          <ac:spMkLst>
            <pc:docMk/>
            <pc:sldMk cId="2899142470" sldId="2147483070"/>
            <ac:spMk id="89" creationId="{3D1D9D56-4EC8-A22E-D468-50F0970298B5}"/>
          </ac:spMkLst>
        </pc:spChg>
        <pc:spChg chg="mod">
          <ac:chgData name="Yiqun Dai" userId="360a2182-b97f-4635-b990-04f846616e33" providerId="ADAL" clId="{8F04EA49-0EFC-48F3-A4D8-E0F0D3B461A8}" dt="2025-11-07T06:08:21.619" v="226703"/>
          <ac:spMkLst>
            <pc:docMk/>
            <pc:sldMk cId="2899142470" sldId="2147483070"/>
            <ac:spMk id="92" creationId="{134F5522-800A-525F-4B1B-2B04B0033C3A}"/>
          </ac:spMkLst>
        </pc:spChg>
        <pc:spChg chg="mod ord">
          <ac:chgData name="Yiqun Dai" userId="360a2182-b97f-4635-b990-04f846616e33" providerId="ADAL" clId="{8F04EA49-0EFC-48F3-A4D8-E0F0D3B461A8}" dt="2025-11-07T06:08:21.612" v="226685"/>
          <ac:spMkLst>
            <pc:docMk/>
            <pc:sldMk cId="2899142470" sldId="2147483070"/>
            <ac:spMk id="96" creationId="{21D065E4-18E5-55EC-CD73-6D9C12A43948}"/>
          </ac:spMkLst>
        </pc:spChg>
        <pc:spChg chg="mod">
          <ac:chgData name="Yiqun Dai" userId="360a2182-b97f-4635-b990-04f846616e33" providerId="ADAL" clId="{8F04EA49-0EFC-48F3-A4D8-E0F0D3B461A8}" dt="2025-11-07T06:08:21.635" v="226717"/>
          <ac:spMkLst>
            <pc:docMk/>
            <pc:sldMk cId="2899142470" sldId="2147483070"/>
            <ac:spMk id="99" creationId="{1B60522C-4EE1-C6B3-6961-F53AC81F1E44}"/>
          </ac:spMkLst>
        </pc:spChg>
        <pc:spChg chg="mod">
          <ac:chgData name="Yiqun Dai" userId="360a2182-b97f-4635-b990-04f846616e33" providerId="ADAL" clId="{8F04EA49-0EFC-48F3-A4D8-E0F0D3B461A8}" dt="2025-11-07T06:08:21.619" v="226693"/>
          <ac:spMkLst>
            <pc:docMk/>
            <pc:sldMk cId="2899142470" sldId="2147483070"/>
            <ac:spMk id="109" creationId="{28CA2BC2-B5BF-82AC-754C-39E25165DB22}"/>
          </ac:spMkLst>
        </pc:spChg>
        <pc:spChg chg="mod">
          <ac:chgData name="Yiqun Dai" userId="360a2182-b97f-4635-b990-04f846616e33" providerId="ADAL" clId="{8F04EA49-0EFC-48F3-A4D8-E0F0D3B461A8}" dt="2025-11-07T06:08:21.619" v="226698"/>
          <ac:spMkLst>
            <pc:docMk/>
            <pc:sldMk cId="2899142470" sldId="2147483070"/>
            <ac:spMk id="110" creationId="{6C90454B-E668-FC76-4B98-9A61B6B1659C}"/>
          </ac:spMkLst>
        </pc:spChg>
        <pc:spChg chg="mod">
          <ac:chgData name="Yiqun Dai" userId="360a2182-b97f-4635-b990-04f846616e33" providerId="ADAL" clId="{8F04EA49-0EFC-48F3-A4D8-E0F0D3B461A8}" dt="2025-11-07T06:08:21.619" v="226699"/>
          <ac:spMkLst>
            <pc:docMk/>
            <pc:sldMk cId="2899142470" sldId="2147483070"/>
            <ac:spMk id="111" creationId="{522D9FBB-BB58-316D-8D19-214726CB035F}"/>
          </ac:spMkLst>
        </pc:spChg>
        <pc:spChg chg="mod ord">
          <ac:chgData name="Yiqun Dai" userId="360a2182-b97f-4635-b990-04f846616e33" providerId="ADAL" clId="{8F04EA49-0EFC-48F3-A4D8-E0F0D3B461A8}" dt="2025-11-07T06:08:21.619" v="226695"/>
          <ac:spMkLst>
            <pc:docMk/>
            <pc:sldMk cId="2899142470" sldId="2147483070"/>
            <ac:spMk id="112" creationId="{24A1FFE6-8D96-4E15-B7C9-E9A3BFDDDD52}"/>
          </ac:spMkLst>
        </pc:spChg>
        <pc:spChg chg="mod ord">
          <ac:chgData name="Yiqun Dai" userId="360a2182-b97f-4635-b990-04f846616e33" providerId="ADAL" clId="{8F04EA49-0EFC-48F3-A4D8-E0F0D3B461A8}" dt="2025-11-07T06:08:21.612" v="226688"/>
          <ac:spMkLst>
            <pc:docMk/>
            <pc:sldMk cId="2899142470" sldId="2147483070"/>
            <ac:spMk id="113" creationId="{F4C3979E-DC1D-C357-5278-9D5FF15DF2FF}"/>
          </ac:spMkLst>
        </pc:spChg>
        <pc:spChg chg="mod">
          <ac:chgData name="Yiqun Dai" userId="360a2182-b97f-4635-b990-04f846616e33" providerId="ADAL" clId="{8F04EA49-0EFC-48F3-A4D8-E0F0D3B461A8}" dt="2025-11-07T06:08:21.635" v="226718"/>
          <ac:spMkLst>
            <pc:docMk/>
            <pc:sldMk cId="2899142470" sldId="2147483070"/>
            <ac:spMk id="114" creationId="{F04DAA5B-105D-2D81-B966-008575863DA2}"/>
          </ac:spMkLst>
        </pc:spChg>
        <pc:spChg chg="mod ord">
          <ac:chgData name="Yiqun Dai" userId="360a2182-b97f-4635-b990-04f846616e33" providerId="ADAL" clId="{8F04EA49-0EFC-48F3-A4D8-E0F0D3B461A8}" dt="2025-11-07T06:08:21.612" v="226692"/>
          <ac:spMkLst>
            <pc:docMk/>
            <pc:sldMk cId="2899142470" sldId="2147483070"/>
            <ac:spMk id="115" creationId="{A39353FD-130E-4BD2-D00F-C2D920172FCC}"/>
          </ac:spMkLst>
        </pc:spChg>
        <pc:spChg chg="mod">
          <ac:chgData name="Yiqun Dai" userId="360a2182-b97f-4635-b990-04f846616e33" providerId="ADAL" clId="{8F04EA49-0EFC-48F3-A4D8-E0F0D3B461A8}" dt="2025-11-07T06:08:21.612" v="226690"/>
          <ac:spMkLst>
            <pc:docMk/>
            <pc:sldMk cId="2899142470" sldId="2147483070"/>
            <ac:spMk id="116" creationId="{6829D84E-CDED-641B-CC0E-E66F0E760088}"/>
          </ac:spMkLst>
        </pc:spChg>
        <pc:spChg chg="mod">
          <ac:chgData name="Yiqun Dai" userId="360a2182-b97f-4635-b990-04f846616e33" providerId="ADAL" clId="{8F04EA49-0EFC-48F3-A4D8-E0F0D3B461A8}" dt="2025-11-07T06:08:21.635" v="226719"/>
          <ac:spMkLst>
            <pc:docMk/>
            <pc:sldMk cId="2899142470" sldId="2147483070"/>
            <ac:spMk id="117" creationId="{6E01674C-187D-802D-33E0-DBA25D3A74B1}"/>
          </ac:spMkLst>
        </pc:spChg>
        <pc:spChg chg="mod ord">
          <ac:chgData name="Yiqun Dai" userId="360a2182-b97f-4635-b990-04f846616e33" providerId="ADAL" clId="{8F04EA49-0EFC-48F3-A4D8-E0F0D3B461A8}" dt="2025-11-07T06:08:21.619" v="226697"/>
          <ac:spMkLst>
            <pc:docMk/>
            <pc:sldMk cId="2899142470" sldId="2147483070"/>
            <ac:spMk id="118" creationId="{52B366F1-B509-A1EB-B02B-6769F6A27CD4}"/>
          </ac:spMkLst>
        </pc:spChg>
        <pc:spChg chg="mod ord">
          <ac:chgData name="Yiqun Dai" userId="360a2182-b97f-4635-b990-04f846616e33" providerId="ADAL" clId="{8F04EA49-0EFC-48F3-A4D8-E0F0D3B461A8}" dt="2025-11-07T06:08:21.619" v="226702"/>
          <ac:spMkLst>
            <pc:docMk/>
            <pc:sldMk cId="2899142470" sldId="2147483070"/>
            <ac:spMk id="119" creationId="{039F5F12-257E-7850-16FB-5A2198BFBA0C}"/>
          </ac:spMkLst>
        </pc:spChg>
        <pc:spChg chg="mod">
          <ac:chgData name="Yiqun Dai" userId="360a2182-b97f-4635-b990-04f846616e33" providerId="ADAL" clId="{8F04EA49-0EFC-48F3-A4D8-E0F0D3B461A8}" dt="2025-11-07T06:08:21.635" v="226720"/>
          <ac:spMkLst>
            <pc:docMk/>
            <pc:sldMk cId="2899142470" sldId="2147483070"/>
            <ac:spMk id="121" creationId="{10493DA9-A7C0-7A79-B80C-06510CD31FBC}"/>
          </ac:spMkLst>
        </pc:spChg>
        <pc:spChg chg="mod ord">
          <ac:chgData name="Yiqun Dai" userId="360a2182-b97f-4635-b990-04f846616e33" providerId="ADAL" clId="{8F04EA49-0EFC-48F3-A4D8-E0F0D3B461A8}" dt="2025-11-07T06:08:21.603" v="226676"/>
          <ac:spMkLst>
            <pc:docMk/>
            <pc:sldMk cId="2899142470" sldId="2147483070"/>
            <ac:spMk id="122" creationId="{03E99C6E-7AEF-4D74-9DDC-282257EF8E8D}"/>
          </ac:spMkLst>
        </pc:spChg>
        <pc:spChg chg="mod">
          <ac:chgData name="Yiqun Dai" userId="360a2182-b97f-4635-b990-04f846616e33" providerId="ADAL" clId="{8F04EA49-0EFC-48F3-A4D8-E0F0D3B461A8}" dt="2025-11-07T06:08:21.635" v="226729"/>
          <ac:spMkLst>
            <pc:docMk/>
            <pc:sldMk cId="2899142470" sldId="2147483070"/>
            <ac:spMk id="170" creationId="{BA009F32-E119-5715-5F25-15AC64D221FD}"/>
          </ac:spMkLst>
        </pc:spChg>
        <pc:spChg chg="mod">
          <ac:chgData name="Yiqun Dai" userId="360a2182-b97f-4635-b990-04f846616e33" providerId="ADAL" clId="{8F04EA49-0EFC-48F3-A4D8-E0F0D3B461A8}" dt="2025-11-07T06:08:21.635" v="226730"/>
          <ac:spMkLst>
            <pc:docMk/>
            <pc:sldMk cId="2899142470" sldId="2147483070"/>
            <ac:spMk id="171" creationId="{94F72F5D-1932-C98A-1615-F0B7F407AAE7}"/>
          </ac:spMkLst>
        </pc:spChg>
        <pc:spChg chg="mod">
          <ac:chgData name="Yiqun Dai" userId="360a2182-b97f-4635-b990-04f846616e33" providerId="ADAL" clId="{8F04EA49-0EFC-48F3-A4D8-E0F0D3B461A8}" dt="2025-11-07T06:08:21.635" v="226731"/>
          <ac:spMkLst>
            <pc:docMk/>
            <pc:sldMk cId="2899142470" sldId="2147483070"/>
            <ac:spMk id="172" creationId="{B9CBB5DB-A91F-5CCD-6746-3BA52FA70582}"/>
          </ac:spMkLst>
        </pc:spChg>
        <pc:spChg chg="mod">
          <ac:chgData name="Yiqun Dai" userId="360a2182-b97f-4635-b990-04f846616e33" providerId="ADAL" clId="{8F04EA49-0EFC-48F3-A4D8-E0F0D3B461A8}" dt="2025-11-07T06:08:21.635" v="226732"/>
          <ac:spMkLst>
            <pc:docMk/>
            <pc:sldMk cId="2899142470" sldId="2147483070"/>
            <ac:spMk id="173" creationId="{03CFB7AB-735E-CE8E-8894-842403C37730}"/>
          </ac:spMkLst>
        </pc:spChg>
        <pc:spChg chg="mod ord">
          <ac:chgData name="Yiqun Dai" userId="360a2182-b97f-4635-b990-04f846616e33" providerId="ADAL" clId="{8F04EA49-0EFC-48F3-A4D8-E0F0D3B461A8}" dt="2025-11-07T06:08:21.635" v="226723"/>
          <ac:spMkLst>
            <pc:docMk/>
            <pc:sldMk cId="2899142470" sldId="2147483070"/>
            <ac:spMk id="176" creationId="{835E8DBD-1374-796E-629B-0D430EEB2AF5}"/>
          </ac:spMkLst>
        </pc:spChg>
        <pc:spChg chg="mod">
          <ac:chgData name="Yiqun Dai" userId="360a2182-b97f-4635-b990-04f846616e33" providerId="ADAL" clId="{8F04EA49-0EFC-48F3-A4D8-E0F0D3B461A8}" dt="2025-11-07T06:08:21.635" v="226724"/>
          <ac:spMkLst>
            <pc:docMk/>
            <pc:sldMk cId="2899142470" sldId="2147483070"/>
            <ac:spMk id="177" creationId="{D0A01F52-8E9F-23A3-8EE6-64DEF879542C}"/>
          </ac:spMkLst>
        </pc:spChg>
        <pc:spChg chg="mod ord">
          <ac:chgData name="Yiqun Dai" userId="360a2182-b97f-4635-b990-04f846616e33" providerId="ADAL" clId="{8F04EA49-0EFC-48F3-A4D8-E0F0D3B461A8}" dt="2025-11-07T06:08:21.635" v="226726"/>
          <ac:spMkLst>
            <pc:docMk/>
            <pc:sldMk cId="2899142470" sldId="2147483070"/>
            <ac:spMk id="178" creationId="{C6F98829-DF4B-60A0-A708-F248DBBAEF80}"/>
          </ac:spMkLst>
        </pc:spChg>
        <pc:spChg chg="mod ord">
          <ac:chgData name="Yiqun Dai" userId="360a2182-b97f-4635-b990-04f846616e33" providerId="ADAL" clId="{8F04EA49-0EFC-48F3-A4D8-E0F0D3B461A8}" dt="2025-11-07T06:08:21.635" v="226728"/>
          <ac:spMkLst>
            <pc:docMk/>
            <pc:sldMk cId="2899142470" sldId="2147483070"/>
            <ac:spMk id="179" creationId="{3D6149BD-E7A4-D497-728B-2EE891EAC5B5}"/>
          </ac:spMkLst>
        </pc:spChg>
        <pc:spChg chg="mod ord">
          <ac:chgData name="Yiqun Dai" userId="360a2182-b97f-4635-b990-04f846616e33" providerId="ADAL" clId="{8F04EA49-0EFC-48F3-A4D8-E0F0D3B461A8}" dt="2025-11-07T06:08:21.650" v="226736"/>
          <ac:spMkLst>
            <pc:docMk/>
            <pc:sldMk cId="2899142470" sldId="2147483070"/>
            <ac:spMk id="204" creationId="{E5227704-8CEA-435B-BE82-B61FF2B57A38}"/>
          </ac:spMkLst>
        </pc:spChg>
        <pc:spChg chg="mod ord">
          <ac:chgData name="Yiqun Dai" userId="360a2182-b97f-4635-b990-04f846616e33" providerId="ADAL" clId="{8F04EA49-0EFC-48F3-A4D8-E0F0D3B461A8}" dt="2025-11-07T06:08:21.587" v="226654"/>
          <ac:spMkLst>
            <pc:docMk/>
            <pc:sldMk cId="2899142470" sldId="2147483070"/>
            <ac:spMk id="206" creationId="{965C08AB-35C9-9D09-F887-06754399F298}"/>
          </ac:spMkLst>
        </pc:spChg>
        <pc:spChg chg="mod ord">
          <ac:chgData name="Yiqun Dai" userId="360a2182-b97f-4635-b990-04f846616e33" providerId="ADAL" clId="{8F04EA49-0EFC-48F3-A4D8-E0F0D3B461A8}" dt="2025-11-07T06:08:21.572" v="226652"/>
          <ac:spMkLst>
            <pc:docMk/>
            <pc:sldMk cId="2899142470" sldId="2147483070"/>
            <ac:spMk id="259" creationId="{0E43A164-0C61-6CC6-7BE5-B2B0652DACA3}"/>
          </ac:spMkLst>
        </pc:spChg>
        <pc:graphicFrameChg chg="mod">
          <ac:chgData name="Yiqun Dai" userId="360a2182-b97f-4635-b990-04f846616e33" providerId="ADAL" clId="{8F04EA49-0EFC-48F3-A4D8-E0F0D3B461A8}" dt="2025-11-07T06:08:21.650" v="226740"/>
          <ac:graphicFrameMkLst>
            <pc:docMk/>
            <pc:sldMk cId="2899142470" sldId="2147483070"/>
            <ac:graphicFrameMk id="11" creationId="{8E81C663-9DB5-FBD4-6B79-7CD9480F8838}"/>
          </ac:graphicFrameMkLst>
        </pc:graphicFrameChg>
        <pc:graphicFrameChg chg="add mod ord">
          <ac:chgData name="Yiqun Dai" userId="360a2182-b97f-4635-b990-04f846616e33" providerId="ADAL" clId="{8F04EA49-0EFC-48F3-A4D8-E0F0D3B461A8}" dt="2025-11-07T06:08:21.605" v="226678"/>
          <ac:graphicFrameMkLst>
            <pc:docMk/>
            <pc:sldMk cId="2899142470" sldId="2147483070"/>
            <ac:graphicFrameMk id="61" creationId="{11FC952D-283A-7B65-A0A2-E286FD5D6CFF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6:09:15.687" v="226760" actId="1036"/>
          <ac:graphicFrameMkLst>
            <pc:docMk/>
            <pc:sldMk cId="2899142470" sldId="2147483070"/>
            <ac:graphicFrameMk id="198" creationId="{F7A98337-A579-E109-A2D9-D492192C8C30}"/>
          </ac:graphicFrameMkLst>
        </pc:graphicFrameChg>
        <pc:cxnChg chg="mod ord">
          <ac:chgData name="Yiqun Dai" userId="360a2182-b97f-4635-b990-04f846616e33" providerId="ADAL" clId="{8F04EA49-0EFC-48F3-A4D8-E0F0D3B461A8}" dt="2025-11-07T06:08:21.591" v="226660"/>
          <ac:cxnSpMkLst>
            <pc:docMk/>
            <pc:sldMk cId="2899142470" sldId="2147483070"/>
            <ac:cxnSpMk id="8" creationId="{25EB9732-E67B-C248-6AD8-D00470CCB046}"/>
          </ac:cxnSpMkLst>
        </pc:cxnChg>
        <pc:cxnChg chg="mod ord">
          <ac:chgData name="Yiqun Dai" userId="360a2182-b97f-4635-b990-04f846616e33" providerId="ADAL" clId="{8F04EA49-0EFC-48F3-A4D8-E0F0D3B461A8}" dt="2025-11-07T06:08:21.591" v="226658"/>
          <ac:cxnSpMkLst>
            <pc:docMk/>
            <pc:sldMk cId="2899142470" sldId="2147483070"/>
            <ac:cxnSpMk id="9" creationId="{4534B96B-2614-E7A9-C620-EF11D883364C}"/>
          </ac:cxnSpMkLst>
        </pc:cxnChg>
        <pc:cxnChg chg="add mod ord">
          <ac:chgData name="Yiqun Dai" userId="360a2182-b97f-4635-b990-04f846616e33" providerId="ADAL" clId="{8F04EA49-0EFC-48F3-A4D8-E0F0D3B461A8}" dt="2025-11-07T06:08:21.591" v="226662"/>
          <ac:cxnSpMkLst>
            <pc:docMk/>
            <pc:sldMk cId="2899142470" sldId="2147483070"/>
            <ac:cxnSpMk id="25" creationId="{F86E53D6-2D3D-0252-C947-8E8E7CC1703D}"/>
          </ac:cxnSpMkLst>
        </pc:cxnChg>
        <pc:cxnChg chg="add mod ord">
          <ac:chgData name="Yiqun Dai" userId="360a2182-b97f-4635-b990-04f846616e33" providerId="ADAL" clId="{8F04EA49-0EFC-48F3-A4D8-E0F0D3B461A8}" dt="2025-11-07T06:08:21.591" v="226664"/>
          <ac:cxnSpMkLst>
            <pc:docMk/>
            <pc:sldMk cId="2899142470" sldId="2147483070"/>
            <ac:cxnSpMk id="26" creationId="{40171344-2F18-5419-BB3E-AFE0C7DE17B1}"/>
          </ac:cxnSpMkLst>
        </pc:cxnChg>
        <pc:cxnChg chg="mod ord">
          <ac:chgData name="Yiqun Dai" userId="360a2182-b97f-4635-b990-04f846616e33" providerId="ADAL" clId="{8F04EA49-0EFC-48F3-A4D8-E0F0D3B461A8}" dt="2025-11-07T06:08:21.591" v="226668"/>
          <ac:cxnSpMkLst>
            <pc:docMk/>
            <pc:sldMk cId="2899142470" sldId="2147483070"/>
            <ac:cxnSpMk id="48" creationId="{7C84072E-7101-5ADA-AA75-2DCFE4F24ABC}"/>
          </ac:cxnSpMkLst>
        </pc:cxnChg>
        <pc:cxnChg chg="mod ord">
          <ac:chgData name="Yiqun Dai" userId="360a2182-b97f-4635-b990-04f846616e33" providerId="ADAL" clId="{8F04EA49-0EFC-48F3-A4D8-E0F0D3B461A8}" dt="2025-11-07T06:08:21.591" v="226666"/>
          <ac:cxnSpMkLst>
            <pc:docMk/>
            <pc:sldMk cId="2899142470" sldId="2147483070"/>
            <ac:cxnSpMk id="81" creationId="{E0D3C553-FAAA-0C49-9E66-A8564F1F2714}"/>
          </ac:cxnSpMkLst>
        </pc:cxnChg>
        <pc:cxnChg chg="mod ord">
          <ac:chgData name="Yiqun Dai" userId="360a2182-b97f-4635-b990-04f846616e33" providerId="ADAL" clId="{8F04EA49-0EFC-48F3-A4D8-E0F0D3B461A8}" dt="2025-11-07T06:08:21.591" v="226670"/>
          <ac:cxnSpMkLst>
            <pc:docMk/>
            <pc:sldMk cId="2899142470" sldId="2147483070"/>
            <ac:cxnSpMk id="123" creationId="{4E84099C-3E02-95BA-27AA-5178282C4813}"/>
          </ac:cxnSpMkLst>
        </pc:cxnChg>
        <pc:cxnChg chg="mod ord">
          <ac:chgData name="Yiqun Dai" userId="360a2182-b97f-4635-b990-04f846616e33" providerId="ADAL" clId="{8F04EA49-0EFC-48F3-A4D8-E0F0D3B461A8}" dt="2025-11-07T06:08:21.591" v="226672"/>
          <ac:cxnSpMkLst>
            <pc:docMk/>
            <pc:sldMk cId="2899142470" sldId="2147483070"/>
            <ac:cxnSpMk id="124" creationId="{E05252FB-02CB-9693-9BCB-8CBF95CA6E93}"/>
          </ac:cxnSpMkLst>
        </pc:cxnChg>
        <pc:cxnChg chg="mod ord">
          <ac:chgData name="Yiqun Dai" userId="360a2182-b97f-4635-b990-04f846616e33" providerId="ADAL" clId="{8F04EA49-0EFC-48F3-A4D8-E0F0D3B461A8}" dt="2025-11-07T06:08:21.601" v="226674"/>
          <ac:cxnSpMkLst>
            <pc:docMk/>
            <pc:sldMk cId="2899142470" sldId="2147483070"/>
            <ac:cxnSpMk id="125" creationId="{47CA4F17-2C06-D4E5-8E7A-5108161F01BE}"/>
          </ac:cxnSpMkLst>
        </pc:cxnChg>
      </pc:sldChg>
      <pc:sldChg chg="addSp delSp modSp add mod ord">
        <pc:chgData name="Yiqun Dai" userId="360a2182-b97f-4635-b990-04f846616e33" providerId="ADAL" clId="{8F04EA49-0EFC-48F3-A4D8-E0F0D3B461A8}" dt="2025-11-10T01:33:49.411" v="282991"/>
        <pc:sldMkLst>
          <pc:docMk/>
          <pc:sldMk cId="2420030622" sldId="2147483071"/>
        </pc:sldMkLst>
        <pc:spChg chg="mod ord">
          <ac:chgData name="Yiqun Dai" userId="360a2182-b97f-4635-b990-04f846616e33" providerId="ADAL" clId="{8F04EA49-0EFC-48F3-A4D8-E0F0D3B461A8}" dt="2025-11-07T06:21:27.389" v="229223" actId="948"/>
          <ac:spMkLst>
            <pc:docMk/>
            <pc:sldMk cId="2420030622" sldId="2147483071"/>
            <ac:spMk id="2" creationId="{FC3A8BB8-3EBD-0585-6768-E5075687A67E}"/>
          </ac:spMkLst>
        </pc:spChg>
        <pc:spChg chg="mod">
          <ac:chgData name="Yiqun Dai" userId="360a2182-b97f-4635-b990-04f846616e33" providerId="ADAL" clId="{8F04EA49-0EFC-48F3-A4D8-E0F0D3B461A8}" dt="2025-11-07T06:15:39.306" v="229017"/>
          <ac:spMkLst>
            <pc:docMk/>
            <pc:sldMk cId="2420030622" sldId="2147483071"/>
            <ac:spMk id="3" creationId="{5CF0807B-9091-66F8-32F5-065ABC89D514}"/>
          </ac:spMkLst>
        </pc:spChg>
        <pc:spChg chg="mod">
          <ac:chgData name="Yiqun Dai" userId="360a2182-b97f-4635-b990-04f846616e33" providerId="ADAL" clId="{8F04EA49-0EFC-48F3-A4D8-E0F0D3B461A8}" dt="2025-11-07T06:15:39.324" v="229038"/>
          <ac:spMkLst>
            <pc:docMk/>
            <pc:sldMk cId="2420030622" sldId="2147483071"/>
            <ac:spMk id="4" creationId="{38472373-41AB-ACDD-3005-A4A588501F00}"/>
          </ac:spMkLst>
        </pc:spChg>
        <pc:spChg chg="mod">
          <ac:chgData name="Yiqun Dai" userId="360a2182-b97f-4635-b990-04f846616e33" providerId="ADAL" clId="{8F04EA49-0EFC-48F3-A4D8-E0F0D3B461A8}" dt="2025-11-07T06:15:39.306" v="229020"/>
          <ac:spMkLst>
            <pc:docMk/>
            <pc:sldMk cId="2420030622" sldId="2147483071"/>
            <ac:spMk id="5" creationId="{D2615113-734F-F8FD-FA80-B4034067B527}"/>
          </ac:spMkLst>
        </pc:spChg>
        <pc:spChg chg="mod">
          <ac:chgData name="Yiqun Dai" userId="360a2182-b97f-4635-b990-04f846616e33" providerId="ADAL" clId="{8F04EA49-0EFC-48F3-A4D8-E0F0D3B461A8}" dt="2025-11-07T06:15:39.335" v="229043"/>
          <ac:spMkLst>
            <pc:docMk/>
            <pc:sldMk cId="2420030622" sldId="2147483071"/>
            <ac:spMk id="6" creationId="{EAB8D05B-7C71-C1A0-58D6-CBC366CFFE92}"/>
          </ac:spMkLst>
        </pc:spChg>
        <pc:spChg chg="mod">
          <ac:chgData name="Yiqun Dai" userId="360a2182-b97f-4635-b990-04f846616e33" providerId="ADAL" clId="{8F04EA49-0EFC-48F3-A4D8-E0F0D3B461A8}" dt="2025-11-07T06:15:39.335" v="229046"/>
          <ac:spMkLst>
            <pc:docMk/>
            <pc:sldMk cId="2420030622" sldId="2147483071"/>
            <ac:spMk id="7" creationId="{C6A472B1-8880-B241-1F86-CC6849EA151E}"/>
          </ac:spMkLst>
        </pc:spChg>
        <pc:spChg chg="mod">
          <ac:chgData name="Yiqun Dai" userId="360a2182-b97f-4635-b990-04f846616e33" providerId="ADAL" clId="{8F04EA49-0EFC-48F3-A4D8-E0F0D3B461A8}" dt="2025-11-07T06:15:39.341" v="229051"/>
          <ac:spMkLst>
            <pc:docMk/>
            <pc:sldMk cId="2420030622" sldId="2147483071"/>
            <ac:spMk id="10" creationId="{81B74854-CBD6-498A-798B-2EA340655780}"/>
          </ac:spMkLst>
        </pc:spChg>
        <pc:spChg chg="mod">
          <ac:chgData name="Yiqun Dai" userId="360a2182-b97f-4635-b990-04f846616e33" providerId="ADAL" clId="{8F04EA49-0EFC-48F3-A4D8-E0F0D3B461A8}" dt="2025-11-07T06:15:39.323" v="229024"/>
          <ac:spMkLst>
            <pc:docMk/>
            <pc:sldMk cId="2420030622" sldId="2147483071"/>
            <ac:spMk id="12" creationId="{41A28105-11C5-BDCA-DF59-0D1F243A168A}"/>
          </ac:spMkLst>
        </pc:spChg>
        <pc:spChg chg="mod">
          <ac:chgData name="Yiqun Dai" userId="360a2182-b97f-4635-b990-04f846616e33" providerId="ADAL" clId="{8F04EA49-0EFC-48F3-A4D8-E0F0D3B461A8}" dt="2025-11-07T06:15:39.324" v="229035"/>
          <ac:spMkLst>
            <pc:docMk/>
            <pc:sldMk cId="2420030622" sldId="2147483071"/>
            <ac:spMk id="13" creationId="{1CA4E950-CB0D-66DE-37AD-71A95B14872E}"/>
          </ac:spMkLst>
        </pc:spChg>
        <pc:spChg chg="mod">
          <ac:chgData name="Yiqun Dai" userId="360a2182-b97f-4635-b990-04f846616e33" providerId="ADAL" clId="{8F04EA49-0EFC-48F3-A4D8-E0F0D3B461A8}" dt="2025-11-07T06:15:39.335" v="229048"/>
          <ac:spMkLst>
            <pc:docMk/>
            <pc:sldMk cId="2420030622" sldId="2147483071"/>
            <ac:spMk id="14" creationId="{312E9F23-3845-BF84-D9D1-5F5B28620283}"/>
          </ac:spMkLst>
        </pc:spChg>
        <pc:spChg chg="mod">
          <ac:chgData name="Yiqun Dai" userId="360a2182-b97f-4635-b990-04f846616e33" providerId="ADAL" clId="{8F04EA49-0EFC-48F3-A4D8-E0F0D3B461A8}" dt="2025-11-07T06:15:39.335" v="229047"/>
          <ac:spMkLst>
            <pc:docMk/>
            <pc:sldMk cId="2420030622" sldId="2147483071"/>
            <ac:spMk id="15" creationId="{AD9C284B-AE82-C292-6FB1-443A2F6AE516}"/>
          </ac:spMkLst>
        </pc:spChg>
        <pc:spChg chg="mod">
          <ac:chgData name="Yiqun Dai" userId="360a2182-b97f-4635-b990-04f846616e33" providerId="ADAL" clId="{8F04EA49-0EFC-48F3-A4D8-E0F0D3B461A8}" dt="2025-11-07T06:15:39.341" v="229052"/>
          <ac:spMkLst>
            <pc:docMk/>
            <pc:sldMk cId="2420030622" sldId="2147483071"/>
            <ac:spMk id="16" creationId="{F10352A0-C9D6-903C-D01D-86D55B93CDD9}"/>
          </ac:spMkLst>
        </pc:spChg>
        <pc:spChg chg="mod">
          <ac:chgData name="Yiqun Dai" userId="360a2182-b97f-4635-b990-04f846616e33" providerId="ADAL" clId="{8F04EA49-0EFC-48F3-A4D8-E0F0D3B461A8}" dt="2025-11-07T06:15:39.306" v="229019"/>
          <ac:spMkLst>
            <pc:docMk/>
            <pc:sldMk cId="2420030622" sldId="2147483071"/>
            <ac:spMk id="17" creationId="{C26E350A-E873-F703-8F30-47270B6D0247}"/>
          </ac:spMkLst>
        </pc:spChg>
        <pc:spChg chg="mod">
          <ac:chgData name="Yiqun Dai" userId="360a2182-b97f-4635-b990-04f846616e33" providerId="ADAL" clId="{8F04EA49-0EFC-48F3-A4D8-E0F0D3B461A8}" dt="2025-11-07T06:15:39.306" v="229018"/>
          <ac:spMkLst>
            <pc:docMk/>
            <pc:sldMk cId="2420030622" sldId="2147483071"/>
            <ac:spMk id="18" creationId="{66578DE9-6ED3-6F5A-F7BA-717947BED489}"/>
          </ac:spMkLst>
        </pc:spChg>
        <pc:spChg chg="mod">
          <ac:chgData name="Yiqun Dai" userId="360a2182-b97f-4635-b990-04f846616e33" providerId="ADAL" clId="{8F04EA49-0EFC-48F3-A4D8-E0F0D3B461A8}" dt="2025-11-07T06:15:39.335" v="229049"/>
          <ac:spMkLst>
            <pc:docMk/>
            <pc:sldMk cId="2420030622" sldId="2147483071"/>
            <ac:spMk id="19" creationId="{7BF066A0-86C0-2A15-9352-78D98AE0C67A}"/>
          </ac:spMkLst>
        </pc:spChg>
        <pc:spChg chg="mod">
          <ac:chgData name="Yiqun Dai" userId="360a2182-b97f-4635-b990-04f846616e33" providerId="ADAL" clId="{8F04EA49-0EFC-48F3-A4D8-E0F0D3B461A8}" dt="2025-11-07T06:15:39.335" v="229044"/>
          <ac:spMkLst>
            <pc:docMk/>
            <pc:sldMk cId="2420030622" sldId="2147483071"/>
            <ac:spMk id="20" creationId="{528C83AC-D46C-8C49-0101-250C654E6412}"/>
          </ac:spMkLst>
        </pc:spChg>
        <pc:spChg chg="mod">
          <ac:chgData name="Yiqun Dai" userId="360a2182-b97f-4635-b990-04f846616e33" providerId="ADAL" clId="{8F04EA49-0EFC-48F3-A4D8-E0F0D3B461A8}" dt="2025-11-07T06:15:39.335" v="229045"/>
          <ac:spMkLst>
            <pc:docMk/>
            <pc:sldMk cId="2420030622" sldId="2147483071"/>
            <ac:spMk id="21" creationId="{32D6A438-4B51-A653-36CB-D8D43A62C724}"/>
          </ac:spMkLst>
        </pc:spChg>
        <pc:spChg chg="mod">
          <ac:chgData name="Yiqun Dai" userId="360a2182-b97f-4635-b990-04f846616e33" providerId="ADAL" clId="{8F04EA49-0EFC-48F3-A4D8-E0F0D3B461A8}" dt="2025-11-07T06:15:39.341" v="229050"/>
          <ac:spMkLst>
            <pc:docMk/>
            <pc:sldMk cId="2420030622" sldId="2147483071"/>
            <ac:spMk id="22" creationId="{542045D9-BBA8-17DC-F090-237679670CB0}"/>
          </ac:spMkLst>
        </pc:spChg>
        <pc:spChg chg="mod">
          <ac:chgData name="Yiqun Dai" userId="360a2182-b97f-4635-b990-04f846616e33" providerId="ADAL" clId="{8F04EA49-0EFC-48F3-A4D8-E0F0D3B461A8}" dt="2025-11-07T06:15:39.341" v="229058"/>
          <ac:spMkLst>
            <pc:docMk/>
            <pc:sldMk cId="2420030622" sldId="2147483071"/>
            <ac:spMk id="24" creationId="{E0E4929B-228D-0A59-668C-DBFE77BB2C9E}"/>
          </ac:spMkLst>
        </pc:spChg>
        <pc:spChg chg="mod ord">
          <ac:chgData name="Yiqun Dai" userId="360a2182-b97f-4635-b990-04f846616e33" providerId="ADAL" clId="{8F04EA49-0EFC-48F3-A4D8-E0F0D3B461A8}" dt="2025-11-07T06:15:39.288" v="228990"/>
          <ac:spMkLst>
            <pc:docMk/>
            <pc:sldMk cId="2420030622" sldId="2147483071"/>
            <ac:spMk id="35" creationId="{67C4E31F-8213-C571-D938-6CF5D2BEFC1D}"/>
          </ac:spMkLst>
        </pc:spChg>
        <pc:spChg chg="mod ord">
          <ac:chgData name="Yiqun Dai" userId="360a2182-b97f-4635-b990-04f846616e33" providerId="ADAL" clId="{8F04EA49-0EFC-48F3-A4D8-E0F0D3B461A8}" dt="2025-11-07T06:15:39.288" v="228988"/>
          <ac:spMkLst>
            <pc:docMk/>
            <pc:sldMk cId="2420030622" sldId="2147483071"/>
            <ac:spMk id="51" creationId="{A440E514-0483-F03A-2E84-1D7800A267B4}"/>
          </ac:spMkLst>
        </pc:spChg>
        <pc:spChg chg="mod ord">
          <ac:chgData name="Yiqun Dai" userId="360a2182-b97f-4635-b990-04f846616e33" providerId="ADAL" clId="{8F04EA49-0EFC-48F3-A4D8-E0F0D3B461A8}" dt="2025-11-07T06:15:39.288" v="228986"/>
          <ac:spMkLst>
            <pc:docMk/>
            <pc:sldMk cId="2420030622" sldId="2147483071"/>
            <ac:spMk id="52" creationId="{2D0F9848-5EE5-30DE-59EF-8CAF76C4130E}"/>
          </ac:spMkLst>
        </pc:spChg>
        <pc:spChg chg="mod">
          <ac:chgData name="Yiqun Dai" userId="360a2182-b97f-4635-b990-04f846616e33" providerId="ADAL" clId="{8F04EA49-0EFC-48F3-A4D8-E0F0D3B461A8}" dt="2025-11-07T06:15:39.320" v="229021"/>
          <ac:spMkLst>
            <pc:docMk/>
            <pc:sldMk cId="2420030622" sldId="2147483071"/>
            <ac:spMk id="64" creationId="{9A56840B-FF2C-D3C1-D94B-C409B70F3520}"/>
          </ac:spMkLst>
        </pc:spChg>
        <pc:spChg chg="mod ord">
          <ac:chgData name="Yiqun Dai" userId="360a2182-b97f-4635-b990-04f846616e33" providerId="ADAL" clId="{8F04EA49-0EFC-48F3-A4D8-E0F0D3B461A8}" dt="2025-11-07T06:15:39.324" v="229042"/>
          <ac:spMkLst>
            <pc:docMk/>
            <pc:sldMk cId="2420030622" sldId="2147483071"/>
            <ac:spMk id="80" creationId="{7DAEE334-AA5F-A413-8038-5AA0B69194ED}"/>
          </ac:spMkLst>
        </pc:spChg>
        <pc:spChg chg="mod">
          <ac:chgData name="Yiqun Dai" userId="360a2182-b97f-4635-b990-04f846616e33" providerId="ADAL" clId="{8F04EA49-0EFC-48F3-A4D8-E0F0D3B461A8}" dt="2025-11-07T06:15:39.341" v="229053"/>
          <ac:spMkLst>
            <pc:docMk/>
            <pc:sldMk cId="2420030622" sldId="2147483071"/>
            <ac:spMk id="89" creationId="{7044104F-B392-E687-8108-BE12D4B92EB8}"/>
          </ac:spMkLst>
        </pc:spChg>
        <pc:spChg chg="mod">
          <ac:chgData name="Yiqun Dai" userId="360a2182-b97f-4635-b990-04f846616e33" providerId="ADAL" clId="{8F04EA49-0EFC-48F3-A4D8-E0F0D3B461A8}" dt="2025-11-07T06:15:39.324" v="229039"/>
          <ac:spMkLst>
            <pc:docMk/>
            <pc:sldMk cId="2420030622" sldId="2147483071"/>
            <ac:spMk id="92" creationId="{23085480-8950-8E7F-0DD8-5C5E4CC27DEA}"/>
          </ac:spMkLst>
        </pc:spChg>
        <pc:spChg chg="mod ord">
          <ac:chgData name="Yiqun Dai" userId="360a2182-b97f-4635-b990-04f846616e33" providerId="ADAL" clId="{8F04EA49-0EFC-48F3-A4D8-E0F0D3B461A8}" dt="2025-11-07T06:15:39.320" v="229023"/>
          <ac:spMkLst>
            <pc:docMk/>
            <pc:sldMk cId="2420030622" sldId="2147483071"/>
            <ac:spMk id="96" creationId="{4FC164C6-58A7-A605-B6F5-F117BFEB7484}"/>
          </ac:spMkLst>
        </pc:spChg>
        <pc:spChg chg="mod">
          <ac:chgData name="Yiqun Dai" userId="360a2182-b97f-4635-b990-04f846616e33" providerId="ADAL" clId="{8F04EA49-0EFC-48F3-A4D8-E0F0D3B461A8}" dt="2025-11-07T06:15:39.341" v="229054"/>
          <ac:spMkLst>
            <pc:docMk/>
            <pc:sldMk cId="2420030622" sldId="2147483071"/>
            <ac:spMk id="99" creationId="{64E90089-BBCD-6136-D33D-2E079519407F}"/>
          </ac:spMkLst>
        </pc:spChg>
        <pc:spChg chg="mod">
          <ac:chgData name="Yiqun Dai" userId="360a2182-b97f-4635-b990-04f846616e33" providerId="ADAL" clId="{8F04EA49-0EFC-48F3-A4D8-E0F0D3B461A8}" dt="2025-11-07T06:15:39.324" v="229032"/>
          <ac:spMkLst>
            <pc:docMk/>
            <pc:sldMk cId="2420030622" sldId="2147483071"/>
            <ac:spMk id="109" creationId="{2C93D1CC-9434-2C2D-6CBE-D7CBE74386A8}"/>
          </ac:spMkLst>
        </pc:spChg>
        <pc:spChg chg="mod">
          <ac:chgData name="Yiqun Dai" userId="360a2182-b97f-4635-b990-04f846616e33" providerId="ADAL" clId="{8F04EA49-0EFC-48F3-A4D8-E0F0D3B461A8}" dt="2025-11-07T06:15:39.324" v="229036"/>
          <ac:spMkLst>
            <pc:docMk/>
            <pc:sldMk cId="2420030622" sldId="2147483071"/>
            <ac:spMk id="110" creationId="{737BAD63-428B-4A2E-2293-D5B7B484B59D}"/>
          </ac:spMkLst>
        </pc:spChg>
        <pc:spChg chg="mod">
          <ac:chgData name="Yiqun Dai" userId="360a2182-b97f-4635-b990-04f846616e33" providerId="ADAL" clId="{8F04EA49-0EFC-48F3-A4D8-E0F0D3B461A8}" dt="2025-11-07T06:15:39.324" v="229037"/>
          <ac:spMkLst>
            <pc:docMk/>
            <pc:sldMk cId="2420030622" sldId="2147483071"/>
            <ac:spMk id="111" creationId="{ACEF0FE1-72E7-0EB8-6CC8-DC34EC5BA14F}"/>
          </ac:spMkLst>
        </pc:spChg>
        <pc:spChg chg="mod ord">
          <ac:chgData name="Yiqun Dai" userId="360a2182-b97f-4635-b990-04f846616e33" providerId="ADAL" clId="{8F04EA49-0EFC-48F3-A4D8-E0F0D3B461A8}" dt="2025-11-07T06:15:39.324" v="229028"/>
          <ac:spMkLst>
            <pc:docMk/>
            <pc:sldMk cId="2420030622" sldId="2147483071"/>
            <ac:spMk id="112" creationId="{A593CB6D-8C80-1DEC-0468-620F83D6B71D}"/>
          </ac:spMkLst>
        </pc:spChg>
        <pc:spChg chg="mod ord">
          <ac:chgData name="Yiqun Dai" userId="360a2182-b97f-4635-b990-04f846616e33" providerId="ADAL" clId="{8F04EA49-0EFC-48F3-A4D8-E0F0D3B461A8}" dt="2025-11-07T06:15:39.324" v="229026"/>
          <ac:spMkLst>
            <pc:docMk/>
            <pc:sldMk cId="2420030622" sldId="2147483071"/>
            <ac:spMk id="113" creationId="{891052DA-A579-6F3F-771A-E41AAD3C8E3E}"/>
          </ac:spMkLst>
        </pc:spChg>
        <pc:spChg chg="mod">
          <ac:chgData name="Yiqun Dai" userId="360a2182-b97f-4635-b990-04f846616e33" providerId="ADAL" clId="{8F04EA49-0EFC-48F3-A4D8-E0F0D3B461A8}" dt="2025-11-07T06:15:39.341" v="229055"/>
          <ac:spMkLst>
            <pc:docMk/>
            <pc:sldMk cId="2420030622" sldId="2147483071"/>
            <ac:spMk id="114" creationId="{668D491D-FFC2-FC00-F346-FFB28F4EEF89}"/>
          </ac:spMkLst>
        </pc:spChg>
        <pc:spChg chg="mod ord">
          <ac:chgData name="Yiqun Dai" userId="360a2182-b97f-4635-b990-04f846616e33" providerId="ADAL" clId="{8F04EA49-0EFC-48F3-A4D8-E0F0D3B461A8}" dt="2025-11-07T06:15:39.324" v="229031"/>
          <ac:spMkLst>
            <pc:docMk/>
            <pc:sldMk cId="2420030622" sldId="2147483071"/>
            <ac:spMk id="115" creationId="{FF732CD7-E3E0-3BD5-B802-3B4F1F94B43D}"/>
          </ac:spMkLst>
        </pc:spChg>
        <pc:spChg chg="mod">
          <ac:chgData name="Yiqun Dai" userId="360a2182-b97f-4635-b990-04f846616e33" providerId="ADAL" clId="{8F04EA49-0EFC-48F3-A4D8-E0F0D3B461A8}" dt="2025-11-07T06:15:39.324" v="229029"/>
          <ac:spMkLst>
            <pc:docMk/>
            <pc:sldMk cId="2420030622" sldId="2147483071"/>
            <ac:spMk id="116" creationId="{71782E58-A952-31E1-8ABD-F62EBA4B6788}"/>
          </ac:spMkLst>
        </pc:spChg>
        <pc:spChg chg="mod">
          <ac:chgData name="Yiqun Dai" userId="360a2182-b97f-4635-b990-04f846616e33" providerId="ADAL" clId="{8F04EA49-0EFC-48F3-A4D8-E0F0D3B461A8}" dt="2025-11-07T06:15:39.341" v="229056"/>
          <ac:spMkLst>
            <pc:docMk/>
            <pc:sldMk cId="2420030622" sldId="2147483071"/>
            <ac:spMk id="117" creationId="{1C746243-CA99-A1A4-160B-CED1A07C9EE1}"/>
          </ac:spMkLst>
        </pc:spChg>
        <pc:spChg chg="mod">
          <ac:chgData name="Yiqun Dai" userId="360a2182-b97f-4635-b990-04f846616e33" providerId="ADAL" clId="{8F04EA49-0EFC-48F3-A4D8-E0F0D3B461A8}" dt="2025-11-07T06:15:39.324" v="229040"/>
          <ac:spMkLst>
            <pc:docMk/>
            <pc:sldMk cId="2420030622" sldId="2147483071"/>
            <ac:spMk id="118" creationId="{D1C0FCBF-CB66-8894-D4F7-CBE8F0369312}"/>
          </ac:spMkLst>
        </pc:spChg>
        <pc:spChg chg="mod ord">
          <ac:chgData name="Yiqun Dai" userId="360a2182-b97f-4635-b990-04f846616e33" providerId="ADAL" clId="{8F04EA49-0EFC-48F3-A4D8-E0F0D3B461A8}" dt="2025-11-07T06:15:39.324" v="229034"/>
          <ac:spMkLst>
            <pc:docMk/>
            <pc:sldMk cId="2420030622" sldId="2147483071"/>
            <ac:spMk id="119" creationId="{F52BDE78-F74B-3D58-9E8B-55712A9F3FDA}"/>
          </ac:spMkLst>
        </pc:spChg>
        <pc:spChg chg="mod">
          <ac:chgData name="Yiqun Dai" userId="360a2182-b97f-4635-b990-04f846616e33" providerId="ADAL" clId="{8F04EA49-0EFC-48F3-A4D8-E0F0D3B461A8}" dt="2025-11-07T06:15:39.341" v="229057"/>
          <ac:spMkLst>
            <pc:docMk/>
            <pc:sldMk cId="2420030622" sldId="2147483071"/>
            <ac:spMk id="121" creationId="{690DE142-DC0B-EF98-E0C3-C4BB7958926A}"/>
          </ac:spMkLst>
        </pc:spChg>
        <pc:spChg chg="mod">
          <ac:chgData name="Yiqun Dai" userId="360a2182-b97f-4635-b990-04f846616e33" providerId="ADAL" clId="{8F04EA49-0EFC-48F3-A4D8-E0F0D3B461A8}" dt="2025-11-07T06:15:39.350" v="229066"/>
          <ac:spMkLst>
            <pc:docMk/>
            <pc:sldMk cId="2420030622" sldId="2147483071"/>
            <ac:spMk id="170" creationId="{E358D877-A0FE-2A59-C40A-2E2673D672E0}"/>
          </ac:spMkLst>
        </pc:spChg>
        <pc:spChg chg="mod">
          <ac:chgData name="Yiqun Dai" userId="360a2182-b97f-4635-b990-04f846616e33" providerId="ADAL" clId="{8F04EA49-0EFC-48F3-A4D8-E0F0D3B461A8}" dt="2025-11-07T06:15:39.350" v="229067"/>
          <ac:spMkLst>
            <pc:docMk/>
            <pc:sldMk cId="2420030622" sldId="2147483071"/>
            <ac:spMk id="171" creationId="{A3B74362-4039-CC36-3A1A-B0E20F20D689}"/>
          </ac:spMkLst>
        </pc:spChg>
        <pc:spChg chg="mod">
          <ac:chgData name="Yiqun Dai" userId="360a2182-b97f-4635-b990-04f846616e33" providerId="ADAL" clId="{8F04EA49-0EFC-48F3-A4D8-E0F0D3B461A8}" dt="2025-11-07T06:15:39.350" v="229068"/>
          <ac:spMkLst>
            <pc:docMk/>
            <pc:sldMk cId="2420030622" sldId="2147483071"/>
            <ac:spMk id="172" creationId="{84979810-8178-49D5-3FE2-5CC9EC240E4B}"/>
          </ac:spMkLst>
        </pc:spChg>
        <pc:spChg chg="mod">
          <ac:chgData name="Yiqun Dai" userId="360a2182-b97f-4635-b990-04f846616e33" providerId="ADAL" clId="{8F04EA49-0EFC-48F3-A4D8-E0F0D3B461A8}" dt="2025-11-07T06:15:39.350" v="229069"/>
          <ac:spMkLst>
            <pc:docMk/>
            <pc:sldMk cId="2420030622" sldId="2147483071"/>
            <ac:spMk id="173" creationId="{DA768C52-B91B-3BE4-2BDA-F8F01CBCA69E}"/>
          </ac:spMkLst>
        </pc:spChg>
        <pc:spChg chg="mod ord">
          <ac:chgData name="Yiqun Dai" userId="360a2182-b97f-4635-b990-04f846616e33" providerId="ADAL" clId="{8F04EA49-0EFC-48F3-A4D8-E0F0D3B461A8}" dt="2025-11-07T06:15:39.341" v="229060"/>
          <ac:spMkLst>
            <pc:docMk/>
            <pc:sldMk cId="2420030622" sldId="2147483071"/>
            <ac:spMk id="176" creationId="{66612E23-F894-2BFB-F8C0-37A24A44C8B6}"/>
          </ac:spMkLst>
        </pc:spChg>
        <pc:spChg chg="mod">
          <ac:chgData name="Yiqun Dai" userId="360a2182-b97f-4635-b990-04f846616e33" providerId="ADAL" clId="{8F04EA49-0EFC-48F3-A4D8-E0F0D3B461A8}" dt="2025-11-07T06:15:39.349" v="229061"/>
          <ac:spMkLst>
            <pc:docMk/>
            <pc:sldMk cId="2420030622" sldId="2147483071"/>
            <ac:spMk id="177" creationId="{500A05E6-A06A-316D-BE6D-B3BBEE579BC3}"/>
          </ac:spMkLst>
        </pc:spChg>
        <pc:spChg chg="mod ord">
          <ac:chgData name="Yiqun Dai" userId="360a2182-b97f-4635-b990-04f846616e33" providerId="ADAL" clId="{8F04EA49-0EFC-48F3-A4D8-E0F0D3B461A8}" dt="2025-11-07T06:15:39.350" v="229063"/>
          <ac:spMkLst>
            <pc:docMk/>
            <pc:sldMk cId="2420030622" sldId="2147483071"/>
            <ac:spMk id="178" creationId="{A9F01272-F414-F68C-8159-79E6296E6C54}"/>
          </ac:spMkLst>
        </pc:spChg>
        <pc:spChg chg="mod ord">
          <ac:chgData name="Yiqun Dai" userId="360a2182-b97f-4635-b990-04f846616e33" providerId="ADAL" clId="{8F04EA49-0EFC-48F3-A4D8-E0F0D3B461A8}" dt="2025-11-07T06:15:39.350" v="229065"/>
          <ac:spMkLst>
            <pc:docMk/>
            <pc:sldMk cId="2420030622" sldId="2147483071"/>
            <ac:spMk id="179" creationId="{A3990936-D508-DC5C-A76E-BABC9AABA379}"/>
          </ac:spMkLst>
        </pc:spChg>
        <pc:spChg chg="mod ord">
          <ac:chgData name="Yiqun Dai" userId="360a2182-b97f-4635-b990-04f846616e33" providerId="ADAL" clId="{8F04EA49-0EFC-48F3-A4D8-E0F0D3B461A8}" dt="2025-11-07T06:22:03.727" v="229250"/>
          <ac:spMkLst>
            <pc:docMk/>
            <pc:sldMk cId="2420030622" sldId="2147483071"/>
            <ac:spMk id="204" creationId="{758FB9C4-4D4A-32E2-69B2-AE89A47C3804}"/>
          </ac:spMkLst>
        </pc:spChg>
        <pc:spChg chg="mod ord">
          <ac:chgData name="Yiqun Dai" userId="360a2182-b97f-4635-b990-04f846616e33" providerId="ADAL" clId="{8F04EA49-0EFC-48F3-A4D8-E0F0D3B461A8}" dt="2025-11-07T06:15:39.288" v="228994"/>
          <ac:spMkLst>
            <pc:docMk/>
            <pc:sldMk cId="2420030622" sldId="2147483071"/>
            <ac:spMk id="206" creationId="{F7582637-83EE-1915-8B65-D3AE91E3C964}"/>
          </ac:spMkLst>
        </pc:spChg>
        <pc:spChg chg="mod ord">
          <ac:chgData name="Yiqun Dai" userId="360a2182-b97f-4635-b990-04f846616e33" providerId="ADAL" clId="{8F04EA49-0EFC-48F3-A4D8-E0F0D3B461A8}" dt="2025-11-07T06:15:39.288" v="228992"/>
          <ac:spMkLst>
            <pc:docMk/>
            <pc:sldMk cId="2420030622" sldId="2147483071"/>
            <ac:spMk id="259" creationId="{FDF958E5-BC6D-723B-4043-148949C15472}"/>
          </ac:spMkLst>
        </pc:spChg>
        <pc:graphicFrameChg chg="mod">
          <ac:chgData name="Yiqun Dai" userId="360a2182-b97f-4635-b990-04f846616e33" providerId="ADAL" clId="{8F04EA49-0EFC-48F3-A4D8-E0F0D3B461A8}" dt="2025-11-07T06:21:27.435" v="229247"/>
          <ac:graphicFrameMkLst>
            <pc:docMk/>
            <pc:sldMk cId="2420030622" sldId="2147483071"/>
            <ac:graphicFrameMk id="11" creationId="{4281C077-2605-6F00-5029-A3BB5A56EDA9}"/>
          </ac:graphicFrameMkLst>
        </pc:graphicFrameChg>
        <pc:graphicFrameChg chg="add mod ord">
          <ac:chgData name="Yiqun Dai" userId="360a2182-b97f-4635-b990-04f846616e33" providerId="ADAL" clId="{8F04EA49-0EFC-48F3-A4D8-E0F0D3B461A8}" dt="2025-11-07T06:15:39.306" v="229016"/>
          <ac:graphicFrameMkLst>
            <pc:docMk/>
            <pc:sldMk cId="2420030622" sldId="2147483071"/>
            <ac:graphicFrameMk id="44" creationId="{9060CA51-B709-FB85-569E-BBA274467940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6:20:04.752" v="229084" actId="255"/>
          <ac:graphicFrameMkLst>
            <pc:docMk/>
            <pc:sldMk cId="2420030622" sldId="2147483071"/>
            <ac:graphicFrameMk id="198" creationId="{8EC02E79-E8B4-5EF5-A8BF-541BB499671C}"/>
          </ac:graphicFrameMkLst>
        </pc:graphicFrameChg>
        <pc:cxnChg chg="mod ord">
          <ac:chgData name="Yiqun Dai" userId="360a2182-b97f-4635-b990-04f846616e33" providerId="ADAL" clId="{8F04EA49-0EFC-48F3-A4D8-E0F0D3B461A8}" dt="2025-11-07T06:15:39.305" v="229000"/>
          <ac:cxnSpMkLst>
            <pc:docMk/>
            <pc:sldMk cId="2420030622" sldId="2147483071"/>
            <ac:cxnSpMk id="8" creationId="{82E67D93-8A61-7505-00B1-02FD9867D1A7}"/>
          </ac:cxnSpMkLst>
        </pc:cxnChg>
        <pc:cxnChg chg="mod ord">
          <ac:chgData name="Yiqun Dai" userId="360a2182-b97f-4635-b990-04f846616e33" providerId="ADAL" clId="{8F04EA49-0EFC-48F3-A4D8-E0F0D3B461A8}" dt="2025-11-07T06:15:39.306" v="229002"/>
          <ac:cxnSpMkLst>
            <pc:docMk/>
            <pc:sldMk cId="2420030622" sldId="2147483071"/>
            <ac:cxnSpMk id="9" creationId="{3B26C26E-C669-7BA6-A7B3-BA17D0F0B1A2}"/>
          </ac:cxnSpMkLst>
        </pc:cxnChg>
        <pc:cxnChg chg="mod ord">
          <ac:chgData name="Yiqun Dai" userId="360a2182-b97f-4635-b990-04f846616e33" providerId="ADAL" clId="{8F04EA49-0EFC-48F3-A4D8-E0F0D3B461A8}" dt="2025-11-07T06:15:39.303" v="228998"/>
          <ac:cxnSpMkLst>
            <pc:docMk/>
            <pc:sldMk cId="2420030622" sldId="2147483071"/>
            <ac:cxnSpMk id="25" creationId="{701AF455-C86B-5B08-18C0-2DEDF7B70A44}"/>
          </ac:cxnSpMkLst>
        </pc:cxnChg>
        <pc:cxnChg chg="mod ord">
          <ac:chgData name="Yiqun Dai" userId="360a2182-b97f-4635-b990-04f846616e33" providerId="ADAL" clId="{8F04EA49-0EFC-48F3-A4D8-E0F0D3B461A8}" dt="2025-11-07T06:15:39.306" v="229004"/>
          <ac:cxnSpMkLst>
            <pc:docMk/>
            <pc:sldMk cId="2420030622" sldId="2147483071"/>
            <ac:cxnSpMk id="26" creationId="{8F826BF2-6246-D6E2-97E5-8A78812522AF}"/>
          </ac:cxnSpMkLst>
        </pc:cxnChg>
        <pc:cxnChg chg="mod ord">
          <ac:chgData name="Yiqun Dai" userId="360a2182-b97f-4635-b990-04f846616e33" providerId="ADAL" clId="{8F04EA49-0EFC-48F3-A4D8-E0F0D3B461A8}" dt="2025-11-07T06:15:39.306" v="229008"/>
          <ac:cxnSpMkLst>
            <pc:docMk/>
            <pc:sldMk cId="2420030622" sldId="2147483071"/>
            <ac:cxnSpMk id="48" creationId="{A40519D6-8887-84C1-E230-44192E995027}"/>
          </ac:cxnSpMkLst>
        </pc:cxnChg>
        <pc:cxnChg chg="mod ord">
          <ac:chgData name="Yiqun Dai" userId="360a2182-b97f-4635-b990-04f846616e33" providerId="ADAL" clId="{8F04EA49-0EFC-48F3-A4D8-E0F0D3B461A8}" dt="2025-11-07T06:15:39.306" v="229006"/>
          <ac:cxnSpMkLst>
            <pc:docMk/>
            <pc:sldMk cId="2420030622" sldId="2147483071"/>
            <ac:cxnSpMk id="81" creationId="{1DFEBAD7-F25E-F3E0-6E05-36BF04AEF434}"/>
          </ac:cxnSpMkLst>
        </pc:cxnChg>
        <pc:cxnChg chg="mod ord">
          <ac:chgData name="Yiqun Dai" userId="360a2182-b97f-4635-b990-04f846616e33" providerId="ADAL" clId="{8F04EA49-0EFC-48F3-A4D8-E0F0D3B461A8}" dt="2025-11-07T06:15:39.306" v="229010"/>
          <ac:cxnSpMkLst>
            <pc:docMk/>
            <pc:sldMk cId="2420030622" sldId="2147483071"/>
            <ac:cxnSpMk id="123" creationId="{BB97F1CE-7AE5-94C2-C1A6-F843E23B8090}"/>
          </ac:cxnSpMkLst>
        </pc:cxnChg>
        <pc:cxnChg chg="mod ord">
          <ac:chgData name="Yiqun Dai" userId="360a2182-b97f-4635-b990-04f846616e33" providerId="ADAL" clId="{8F04EA49-0EFC-48F3-A4D8-E0F0D3B461A8}" dt="2025-11-07T06:15:39.306" v="229012"/>
          <ac:cxnSpMkLst>
            <pc:docMk/>
            <pc:sldMk cId="2420030622" sldId="2147483071"/>
            <ac:cxnSpMk id="124" creationId="{F42F1E05-26C0-F794-F664-A75003F73D01}"/>
          </ac:cxnSpMkLst>
        </pc:cxnChg>
        <pc:cxnChg chg="mod ord">
          <ac:chgData name="Yiqun Dai" userId="360a2182-b97f-4635-b990-04f846616e33" providerId="ADAL" clId="{8F04EA49-0EFC-48F3-A4D8-E0F0D3B461A8}" dt="2025-11-07T06:15:39.306" v="229014"/>
          <ac:cxnSpMkLst>
            <pc:docMk/>
            <pc:sldMk cId="2420030622" sldId="2147483071"/>
            <ac:cxnSpMk id="125" creationId="{0B7C50EC-829E-5264-67A4-3166EA896BC6}"/>
          </ac:cxnSpMkLst>
        </pc:cxnChg>
      </pc:sldChg>
      <pc:sldChg chg="addSp delSp modSp add mod ord">
        <pc:chgData name="Yiqun Dai" userId="360a2182-b97f-4635-b990-04f846616e33" providerId="ADAL" clId="{8F04EA49-0EFC-48F3-A4D8-E0F0D3B461A8}" dt="2025-11-10T01:33:49.411" v="282991"/>
        <pc:sldMkLst>
          <pc:docMk/>
          <pc:sldMk cId="2108781205" sldId="2147483072"/>
        </pc:sldMkLst>
        <pc:spChg chg="mod ord">
          <ac:chgData name="Yiqun Dai" userId="360a2182-b97f-4635-b990-04f846616e33" providerId="ADAL" clId="{8F04EA49-0EFC-48F3-A4D8-E0F0D3B461A8}" dt="2025-11-07T07:08:10.419" v="237373" actId="948"/>
          <ac:spMkLst>
            <pc:docMk/>
            <pc:sldMk cId="2108781205" sldId="2147483072"/>
            <ac:spMk id="2" creationId="{33CE9184-B331-B398-D4C8-430DF229D85C}"/>
          </ac:spMkLst>
        </pc:spChg>
        <pc:spChg chg="mod">
          <ac:chgData name="Yiqun Dai" userId="360a2182-b97f-4635-b990-04f846616e33" providerId="ADAL" clId="{8F04EA49-0EFC-48F3-A4D8-E0F0D3B461A8}" dt="2025-11-07T07:02:13.265" v="236894"/>
          <ac:spMkLst>
            <pc:docMk/>
            <pc:sldMk cId="2108781205" sldId="2147483072"/>
            <ac:spMk id="3" creationId="{431EFF4D-E4FB-3EA0-CACC-694D7B8D5002}"/>
          </ac:spMkLst>
        </pc:spChg>
        <pc:spChg chg="mod">
          <ac:chgData name="Yiqun Dai" userId="360a2182-b97f-4635-b990-04f846616e33" providerId="ADAL" clId="{8F04EA49-0EFC-48F3-A4D8-E0F0D3B461A8}" dt="2025-11-07T07:02:13.284" v="236906"/>
          <ac:spMkLst>
            <pc:docMk/>
            <pc:sldMk cId="2108781205" sldId="2147483072"/>
            <ac:spMk id="4" creationId="{B0F122F9-577E-7600-35D3-531DA79AA0D4}"/>
          </ac:spMkLst>
        </pc:spChg>
        <pc:spChg chg="mod">
          <ac:chgData name="Yiqun Dai" userId="360a2182-b97f-4635-b990-04f846616e33" providerId="ADAL" clId="{8F04EA49-0EFC-48F3-A4D8-E0F0D3B461A8}" dt="2025-11-07T07:02:13.265" v="236897"/>
          <ac:spMkLst>
            <pc:docMk/>
            <pc:sldMk cId="2108781205" sldId="2147483072"/>
            <ac:spMk id="5" creationId="{28D8D37F-28F1-17A0-9DE9-0455C2F0E7C8}"/>
          </ac:spMkLst>
        </pc:spChg>
        <pc:spChg chg="mod">
          <ac:chgData name="Yiqun Dai" userId="360a2182-b97f-4635-b990-04f846616e33" providerId="ADAL" clId="{8F04EA49-0EFC-48F3-A4D8-E0F0D3B461A8}" dt="2025-11-07T07:02:13.284" v="236912"/>
          <ac:spMkLst>
            <pc:docMk/>
            <pc:sldMk cId="2108781205" sldId="2147483072"/>
            <ac:spMk id="6" creationId="{29127BFF-7BA5-E633-6F36-24C6FFAFEF06}"/>
          </ac:spMkLst>
        </pc:spChg>
        <pc:spChg chg="del mod">
          <ac:chgData name="Yiqun Dai" userId="360a2182-b97f-4635-b990-04f846616e33" providerId="ADAL" clId="{8F04EA49-0EFC-48F3-A4D8-E0F0D3B461A8}" dt="2025-11-07T07:02:13.297" v="236915"/>
          <ac:spMkLst>
            <pc:docMk/>
            <pc:sldMk cId="2108781205" sldId="2147483072"/>
            <ac:spMk id="7" creationId="{D8F583C5-0538-A749-7E53-0804FB6299D9}"/>
          </ac:spMkLst>
        </pc:spChg>
        <pc:spChg chg="mod">
          <ac:chgData name="Yiqun Dai" userId="360a2182-b97f-4635-b990-04f846616e33" providerId="ADAL" clId="{8F04EA49-0EFC-48F3-A4D8-E0F0D3B461A8}" dt="2025-11-07T07:02:13.297" v="236926"/>
          <ac:spMkLst>
            <pc:docMk/>
            <pc:sldMk cId="2108781205" sldId="2147483072"/>
            <ac:spMk id="10" creationId="{169854CD-C9E3-3737-DB39-FACFD7F594EF}"/>
          </ac:spMkLst>
        </pc:spChg>
        <pc:spChg chg="mod">
          <ac:chgData name="Yiqun Dai" userId="360a2182-b97f-4635-b990-04f846616e33" providerId="ADAL" clId="{8F04EA49-0EFC-48F3-A4D8-E0F0D3B461A8}" dt="2025-11-07T07:02:13.265" v="236898"/>
          <ac:spMkLst>
            <pc:docMk/>
            <pc:sldMk cId="2108781205" sldId="2147483072"/>
            <ac:spMk id="12" creationId="{377AC7C1-8644-BD84-49BC-A503C6DADC56}"/>
          </ac:spMkLst>
        </pc:spChg>
        <pc:spChg chg="mod">
          <ac:chgData name="Yiqun Dai" userId="360a2182-b97f-4635-b990-04f846616e33" providerId="ADAL" clId="{8F04EA49-0EFC-48F3-A4D8-E0F0D3B461A8}" dt="2025-11-07T07:02:13.297" v="236921"/>
          <ac:spMkLst>
            <pc:docMk/>
            <pc:sldMk cId="2108781205" sldId="2147483072"/>
            <ac:spMk id="13" creationId="{78F53048-A43D-F2E4-8A9E-B8D20C3A983D}"/>
          </ac:spMkLst>
        </pc:spChg>
        <pc:spChg chg="mod">
          <ac:chgData name="Yiqun Dai" userId="360a2182-b97f-4635-b990-04f846616e33" providerId="ADAL" clId="{8F04EA49-0EFC-48F3-A4D8-E0F0D3B461A8}" dt="2025-11-07T07:02:13.297" v="236917"/>
          <ac:spMkLst>
            <pc:docMk/>
            <pc:sldMk cId="2108781205" sldId="2147483072"/>
            <ac:spMk id="14" creationId="{534B98DF-7CDF-2108-5677-81AD9422601C}"/>
          </ac:spMkLst>
        </pc:spChg>
        <pc:spChg chg="mod">
          <ac:chgData name="Yiqun Dai" userId="360a2182-b97f-4635-b990-04f846616e33" providerId="ADAL" clId="{8F04EA49-0EFC-48F3-A4D8-E0F0D3B461A8}" dt="2025-11-07T07:02:13.297" v="236916"/>
          <ac:spMkLst>
            <pc:docMk/>
            <pc:sldMk cId="2108781205" sldId="2147483072"/>
            <ac:spMk id="15" creationId="{32D4C8A4-1E2E-034C-27EB-F4A556F46FD5}"/>
          </ac:spMkLst>
        </pc:spChg>
        <pc:spChg chg="mod ord">
          <ac:chgData name="Yiqun Dai" userId="360a2182-b97f-4635-b990-04f846616e33" providerId="ADAL" clId="{8F04EA49-0EFC-48F3-A4D8-E0F0D3B461A8}" dt="2025-11-07T07:02:13.297" v="236922"/>
          <ac:spMkLst>
            <pc:docMk/>
            <pc:sldMk cId="2108781205" sldId="2147483072"/>
            <ac:spMk id="16" creationId="{8824B208-0BA9-8A76-3BF5-7D5C6A0F9B83}"/>
          </ac:spMkLst>
        </pc:spChg>
        <pc:spChg chg="mod">
          <ac:chgData name="Yiqun Dai" userId="360a2182-b97f-4635-b990-04f846616e33" providerId="ADAL" clId="{8F04EA49-0EFC-48F3-A4D8-E0F0D3B461A8}" dt="2025-11-07T07:02:13.265" v="236896"/>
          <ac:spMkLst>
            <pc:docMk/>
            <pc:sldMk cId="2108781205" sldId="2147483072"/>
            <ac:spMk id="17" creationId="{AA119605-DA75-6186-F1A0-0923DD1BB010}"/>
          </ac:spMkLst>
        </pc:spChg>
        <pc:spChg chg="mod">
          <ac:chgData name="Yiqun Dai" userId="360a2182-b97f-4635-b990-04f846616e33" providerId="ADAL" clId="{8F04EA49-0EFC-48F3-A4D8-E0F0D3B461A8}" dt="2025-11-07T07:02:13.265" v="236895"/>
          <ac:spMkLst>
            <pc:docMk/>
            <pc:sldMk cId="2108781205" sldId="2147483072"/>
            <ac:spMk id="18" creationId="{4ECC6761-DF14-E240-7DCB-263BEEB89774}"/>
          </ac:spMkLst>
        </pc:spChg>
        <pc:spChg chg="mod ord">
          <ac:chgData name="Yiqun Dai" userId="360a2182-b97f-4635-b990-04f846616e33" providerId="ADAL" clId="{8F04EA49-0EFC-48F3-A4D8-E0F0D3B461A8}" dt="2025-11-07T07:02:13.297" v="236919"/>
          <ac:spMkLst>
            <pc:docMk/>
            <pc:sldMk cId="2108781205" sldId="2147483072"/>
            <ac:spMk id="19" creationId="{72110732-454D-0822-DCAD-677063DE8134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20" creationId="{5E80E321-6868-777D-11B8-1F9CCAF96DCD}"/>
          </ac:spMkLst>
        </pc:spChg>
        <pc:spChg chg="mod">
          <ac:chgData name="Yiqun Dai" userId="360a2182-b97f-4635-b990-04f846616e33" providerId="ADAL" clId="{8F04EA49-0EFC-48F3-A4D8-E0F0D3B461A8}" dt="2025-11-07T07:02:13.284" v="236903"/>
          <ac:spMkLst>
            <pc:docMk/>
            <pc:sldMk cId="2108781205" sldId="2147483072"/>
            <ac:spMk id="21" creationId="{75D8D60B-12E6-25F1-A3A3-AC7F6E0192D7}"/>
          </ac:spMkLst>
        </pc:spChg>
        <pc:spChg chg="mod ord">
          <ac:chgData name="Yiqun Dai" userId="360a2182-b97f-4635-b990-04f846616e33" providerId="ADAL" clId="{8F04EA49-0EFC-48F3-A4D8-E0F0D3B461A8}" dt="2025-11-07T07:02:13.297" v="236920"/>
          <ac:spMkLst>
            <pc:docMk/>
            <pc:sldMk cId="2108781205" sldId="2147483072"/>
            <ac:spMk id="22" creationId="{2AD12FB5-D908-7201-EF44-8737D447FD64}"/>
          </ac:spMkLst>
        </pc:spChg>
        <pc:spChg chg="add mod ord">
          <ac:chgData name="Yiqun Dai" userId="360a2182-b97f-4635-b990-04f846616e33" providerId="ADAL" clId="{8F04EA49-0EFC-48F3-A4D8-E0F0D3B461A8}" dt="2025-11-07T07:02:23.633" v="236962"/>
          <ac:spMkLst>
            <pc:docMk/>
            <pc:sldMk cId="2108781205" sldId="2147483072"/>
            <ac:spMk id="27" creationId="{654274F1-363A-B34B-16CF-CF402A355363}"/>
          </ac:spMkLst>
        </pc:spChg>
        <pc:spChg chg="add mod ord">
          <ac:chgData name="Yiqun Dai" userId="360a2182-b97f-4635-b990-04f846616e33" providerId="ADAL" clId="{8F04EA49-0EFC-48F3-A4D8-E0F0D3B461A8}" dt="2025-11-07T07:02:23.633" v="236963"/>
          <ac:spMkLst>
            <pc:docMk/>
            <pc:sldMk cId="2108781205" sldId="2147483072"/>
            <ac:spMk id="28" creationId="{B57E643F-C831-6588-2502-5AB7B5BBFA8D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35" creationId="{61F5AAAD-B6CB-5159-B12C-65D153E525FA}"/>
          </ac:spMkLst>
        </pc:spChg>
        <pc:spChg chg="mod ord">
          <ac:chgData name="Yiqun Dai" userId="360a2182-b97f-4635-b990-04f846616e33" providerId="ADAL" clId="{8F04EA49-0EFC-48F3-A4D8-E0F0D3B461A8}" dt="2025-11-07T07:02:23.633" v="236952"/>
          <ac:spMkLst>
            <pc:docMk/>
            <pc:sldMk cId="2108781205" sldId="2147483072"/>
            <ac:spMk id="51" creationId="{FC733DFE-234C-CA7B-A4CE-1862DDB5CCCC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52" creationId="{938AA5CF-95F7-6B8F-101E-5CA12FADF113}"/>
          </ac:spMkLst>
        </pc:spChg>
        <pc:spChg chg="add mod">
          <ac:chgData name="Yiqun Dai" userId="360a2182-b97f-4635-b990-04f846616e33" providerId="ADAL" clId="{8F04EA49-0EFC-48F3-A4D8-E0F0D3B461A8}" dt="2025-11-07T07:02:50.306" v="237003" actId="14100"/>
          <ac:spMkLst>
            <pc:docMk/>
            <pc:sldMk cId="2108781205" sldId="2147483072"/>
            <ac:spMk id="59" creationId="{2B3A04AE-D13A-C0F1-B49C-83AFDFFDAA12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80" creationId="{6BED68E5-5B03-FCCE-9F31-77BDF9BC98B5}"/>
          </ac:spMkLst>
        </pc:spChg>
        <pc:spChg chg="mod ord">
          <ac:chgData name="Yiqun Dai" userId="360a2182-b97f-4635-b990-04f846616e33" providerId="ADAL" clId="{8F04EA49-0EFC-48F3-A4D8-E0F0D3B461A8}" dt="2025-11-07T07:02:13.297" v="236918"/>
          <ac:spMkLst>
            <pc:docMk/>
            <pc:sldMk cId="2108781205" sldId="2147483072"/>
            <ac:spMk id="89" creationId="{DD24389D-BA52-5C26-6918-CF618CFB35F2}"/>
          </ac:spMkLst>
        </pc:spChg>
        <pc:spChg chg="mod">
          <ac:chgData name="Yiqun Dai" userId="360a2182-b97f-4635-b990-04f846616e33" providerId="ADAL" clId="{8F04EA49-0EFC-48F3-A4D8-E0F0D3B461A8}" dt="2025-11-07T07:02:13.284" v="236907"/>
          <ac:spMkLst>
            <pc:docMk/>
            <pc:sldMk cId="2108781205" sldId="2147483072"/>
            <ac:spMk id="92" creationId="{45A27584-DCF1-1367-BEA1-1D63D51AECDA}"/>
          </ac:spMkLst>
        </pc:spChg>
        <pc:spChg chg="mod">
          <ac:chgData name="Yiqun Dai" userId="360a2182-b97f-4635-b990-04f846616e33" providerId="ADAL" clId="{8F04EA49-0EFC-48F3-A4D8-E0F0D3B461A8}" dt="2025-11-07T07:02:13.282" v="236901"/>
          <ac:spMkLst>
            <pc:docMk/>
            <pc:sldMk cId="2108781205" sldId="2147483072"/>
            <ac:spMk id="109" creationId="{4B0A003D-AB0D-915F-973D-24176FB5FABE}"/>
          </ac:spMkLst>
        </pc:spChg>
        <pc:spChg chg="mod">
          <ac:chgData name="Yiqun Dai" userId="360a2182-b97f-4635-b990-04f846616e33" providerId="ADAL" clId="{8F04EA49-0EFC-48F3-A4D8-E0F0D3B461A8}" dt="2025-11-07T07:02:13.284" v="236904"/>
          <ac:spMkLst>
            <pc:docMk/>
            <pc:sldMk cId="2108781205" sldId="2147483072"/>
            <ac:spMk id="110" creationId="{5C06DF48-0BD9-4676-4A3B-367DAE55CDFD}"/>
          </ac:spMkLst>
        </pc:spChg>
        <pc:spChg chg="mod">
          <ac:chgData name="Yiqun Dai" userId="360a2182-b97f-4635-b990-04f846616e33" providerId="ADAL" clId="{8F04EA49-0EFC-48F3-A4D8-E0F0D3B461A8}" dt="2025-11-07T07:02:13.284" v="236905"/>
          <ac:spMkLst>
            <pc:docMk/>
            <pc:sldMk cId="2108781205" sldId="2147483072"/>
            <ac:spMk id="111" creationId="{57908DEC-86D6-D4B5-9F66-E715DC003301}"/>
          </ac:spMkLst>
        </pc:spChg>
        <pc:spChg chg="mod ord">
          <ac:chgData name="Yiqun Dai" userId="360a2182-b97f-4635-b990-04f846616e33" providerId="ADAL" clId="{8F04EA49-0EFC-48F3-A4D8-E0F0D3B461A8}" dt="2025-11-07T07:02:13.297" v="236923"/>
          <ac:spMkLst>
            <pc:docMk/>
            <pc:sldMk cId="2108781205" sldId="2147483072"/>
            <ac:spMk id="114" creationId="{71E85D15-BADC-C53D-67EF-3F5F9F4B4134}"/>
          </ac:spMkLst>
        </pc:spChg>
        <pc:spChg chg="mod">
          <ac:chgData name="Yiqun Dai" userId="360a2182-b97f-4635-b990-04f846616e33" providerId="ADAL" clId="{8F04EA49-0EFC-48F3-A4D8-E0F0D3B461A8}" dt="2025-11-07T07:02:13.281" v="236900"/>
          <ac:spMkLst>
            <pc:docMk/>
            <pc:sldMk cId="2108781205" sldId="2147483072"/>
            <ac:spMk id="115" creationId="{95862B7B-BE92-A965-7914-D438BA31725D}"/>
          </ac:spMkLst>
        </pc:spChg>
        <pc:spChg chg="mod">
          <ac:chgData name="Yiqun Dai" userId="360a2182-b97f-4635-b990-04f846616e33" providerId="ADAL" clId="{8F04EA49-0EFC-48F3-A4D8-E0F0D3B461A8}" dt="2025-11-07T07:02:13.265" v="236899"/>
          <ac:spMkLst>
            <pc:docMk/>
            <pc:sldMk cId="2108781205" sldId="2147483072"/>
            <ac:spMk id="116" creationId="{B82CC920-EFF6-F673-1BCB-675EF39A0AAB}"/>
          </ac:spMkLst>
        </pc:spChg>
        <pc:spChg chg="mod">
          <ac:chgData name="Yiqun Dai" userId="360a2182-b97f-4635-b990-04f846616e33" providerId="ADAL" clId="{8F04EA49-0EFC-48F3-A4D8-E0F0D3B461A8}" dt="2025-11-07T07:02:13.297" v="236924"/>
          <ac:spMkLst>
            <pc:docMk/>
            <pc:sldMk cId="2108781205" sldId="2147483072"/>
            <ac:spMk id="117" creationId="{7F9D3CD0-CC8B-EC29-B223-8E93D1211705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118" creationId="{8CA7AC32-802A-3A93-E541-1A755093241C}"/>
          </ac:spMkLst>
        </pc:spChg>
        <pc:spChg chg="mod">
          <ac:chgData name="Yiqun Dai" userId="360a2182-b97f-4635-b990-04f846616e33" providerId="ADAL" clId="{8F04EA49-0EFC-48F3-A4D8-E0F0D3B461A8}" dt="2025-11-07T07:02:13.284" v="236902"/>
          <ac:spMkLst>
            <pc:docMk/>
            <pc:sldMk cId="2108781205" sldId="2147483072"/>
            <ac:spMk id="119" creationId="{7DA89F1C-2C5C-397F-F967-E093DC55EEBE}"/>
          </ac:spMkLst>
        </pc:spChg>
        <pc:spChg chg="mod">
          <ac:chgData name="Yiqun Dai" userId="360a2182-b97f-4635-b990-04f846616e33" providerId="ADAL" clId="{8F04EA49-0EFC-48F3-A4D8-E0F0D3B461A8}" dt="2025-11-07T07:02:13.297" v="236925"/>
          <ac:spMkLst>
            <pc:docMk/>
            <pc:sldMk cId="2108781205" sldId="2147483072"/>
            <ac:spMk id="121" creationId="{797FD544-E05D-76C0-0BF4-1D53662FB63B}"/>
          </ac:spMkLst>
        </pc:spChg>
        <pc:spChg chg="mod">
          <ac:chgData name="Yiqun Dai" userId="360a2182-b97f-4635-b990-04f846616e33" providerId="ADAL" clId="{8F04EA49-0EFC-48F3-A4D8-E0F0D3B461A8}" dt="2025-11-07T07:03:30.577" v="237005"/>
          <ac:spMkLst>
            <pc:docMk/>
            <pc:sldMk cId="2108781205" sldId="2147483072"/>
            <ac:spMk id="170" creationId="{2FCD4468-349B-C4E5-7314-4EB6283C3FF3}"/>
          </ac:spMkLst>
        </pc:spChg>
        <pc:spChg chg="mod">
          <ac:chgData name="Yiqun Dai" userId="360a2182-b97f-4635-b990-04f846616e33" providerId="ADAL" clId="{8F04EA49-0EFC-48F3-A4D8-E0F0D3B461A8}" dt="2025-11-07T07:03:30.611" v="237026"/>
          <ac:spMkLst>
            <pc:docMk/>
            <pc:sldMk cId="2108781205" sldId="2147483072"/>
            <ac:spMk id="171" creationId="{3DFEE2B9-221A-7D18-1AB5-80017B2D2539}"/>
          </ac:spMkLst>
        </pc:spChg>
        <pc:spChg chg="mod">
          <ac:chgData name="Yiqun Dai" userId="360a2182-b97f-4635-b990-04f846616e33" providerId="ADAL" clId="{8F04EA49-0EFC-48F3-A4D8-E0F0D3B461A8}" dt="2025-11-07T07:03:30.611" v="237029"/>
          <ac:spMkLst>
            <pc:docMk/>
            <pc:sldMk cId="2108781205" sldId="2147483072"/>
            <ac:spMk id="172" creationId="{9479CB2E-C2CB-3C15-98BD-48CF33A2B759}"/>
          </ac:spMkLst>
        </pc:spChg>
        <pc:spChg chg="mod">
          <ac:chgData name="Yiqun Dai" userId="360a2182-b97f-4635-b990-04f846616e33" providerId="ADAL" clId="{8F04EA49-0EFC-48F3-A4D8-E0F0D3B461A8}" dt="2025-11-07T07:03:30.611" v="237032"/>
          <ac:spMkLst>
            <pc:docMk/>
            <pc:sldMk cId="2108781205" sldId="2147483072"/>
            <ac:spMk id="173" creationId="{1767DD01-0D76-C444-3C05-0E855092C956}"/>
          </ac:spMkLst>
        </pc:spChg>
        <pc:spChg chg="mod ord">
          <ac:chgData name="Yiqun Dai" userId="360a2182-b97f-4635-b990-04f846616e33" providerId="ADAL" clId="{8F04EA49-0EFC-48F3-A4D8-E0F0D3B461A8}" dt="2025-11-07T07:02:23.633" v="236957"/>
          <ac:spMkLst>
            <pc:docMk/>
            <pc:sldMk cId="2108781205" sldId="2147483072"/>
            <ac:spMk id="176" creationId="{E70DA91E-6674-6D50-5996-0A162787F6BC}"/>
          </ac:spMkLst>
        </pc:spChg>
        <pc:spChg chg="mod">
          <ac:chgData name="Yiqun Dai" userId="360a2182-b97f-4635-b990-04f846616e33" providerId="ADAL" clId="{8F04EA49-0EFC-48F3-A4D8-E0F0D3B461A8}" dt="2025-11-07T07:02:13.313" v="236929"/>
          <ac:spMkLst>
            <pc:docMk/>
            <pc:sldMk cId="2108781205" sldId="2147483072"/>
            <ac:spMk id="177" creationId="{AB14B7C2-D2EA-6A11-6BCB-F95BBE84AE20}"/>
          </ac:spMkLst>
        </pc:spChg>
        <pc:spChg chg="mod ord">
          <ac:chgData name="Yiqun Dai" userId="360a2182-b97f-4635-b990-04f846616e33" providerId="ADAL" clId="{8F04EA49-0EFC-48F3-A4D8-E0F0D3B461A8}" dt="2025-11-07T07:02:23.633" v="236956"/>
          <ac:spMkLst>
            <pc:docMk/>
            <pc:sldMk cId="2108781205" sldId="2147483072"/>
            <ac:spMk id="178" creationId="{1BE4C0FD-BC6E-3F8F-6199-D4F9C76E635D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179" creationId="{244A2C2A-9EB8-3FA2-B8E0-9F100307B16C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204" creationId="{EEBA4A0D-45F7-2D8B-6C5A-9803EDA44622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206" creationId="{30611B49-8564-6CD7-E7E5-C99BACBE6AE1}"/>
          </ac:spMkLst>
        </pc:spChg>
        <pc:spChg chg="mod ord">
          <ac:chgData name="Yiqun Dai" userId="360a2182-b97f-4635-b990-04f846616e33" providerId="ADAL" clId="{8F04EA49-0EFC-48F3-A4D8-E0F0D3B461A8}" dt="2025-11-07T07:02:23.644" v="236975"/>
          <ac:spMkLst>
            <pc:docMk/>
            <pc:sldMk cId="2108781205" sldId="2147483072"/>
            <ac:spMk id="259" creationId="{39438B1C-512A-0E77-247D-6BBF007C06BD}"/>
          </ac:spMkLst>
        </pc:spChg>
        <pc:graphicFrameChg chg="mod">
          <ac:chgData name="Yiqun Dai" userId="360a2182-b97f-4635-b990-04f846616e33" providerId="ADAL" clId="{8F04EA49-0EFC-48F3-A4D8-E0F0D3B461A8}" dt="2025-11-07T07:08:10.438" v="237375"/>
          <ac:graphicFrameMkLst>
            <pc:docMk/>
            <pc:sldMk cId="2108781205" sldId="2147483072"/>
            <ac:graphicFrameMk id="11" creationId="{F870C35C-9049-4C26-7BD0-AD2B7E57110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7T07:02:23.633" v="236961"/>
          <ac:graphicFrameMkLst>
            <pc:docMk/>
            <pc:sldMk cId="2108781205" sldId="2147483072"/>
            <ac:graphicFrameMk id="54" creationId="{B93B8199-E7CE-84E1-8307-292BC4C941CB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7:02:23.633" v="236954"/>
          <ac:graphicFrameMkLst>
            <pc:docMk/>
            <pc:sldMk cId="2108781205" sldId="2147483072"/>
            <ac:graphicFrameMk id="198" creationId="{FFDF8EFF-EC19-A7BE-1409-3EBBD3BAC060}"/>
          </ac:graphicFrameMkLst>
        </pc:graphicFrameChg>
        <pc:cxnChg chg="mod ord">
          <ac:chgData name="Yiqun Dai" userId="360a2182-b97f-4635-b990-04f846616e33" providerId="ADAL" clId="{8F04EA49-0EFC-48F3-A4D8-E0F0D3B461A8}" dt="2025-11-07T07:02:23.644" v="236971"/>
          <ac:cxnSpMkLst>
            <pc:docMk/>
            <pc:sldMk cId="2108781205" sldId="2147483072"/>
            <ac:cxnSpMk id="8" creationId="{7BB59D6A-39C7-DEA6-2DD3-E644C4CA8FE3}"/>
          </ac:cxnSpMkLst>
        </pc:cxnChg>
        <pc:cxnChg chg="mod ord">
          <ac:chgData name="Yiqun Dai" userId="360a2182-b97f-4635-b990-04f846616e33" providerId="ADAL" clId="{8F04EA49-0EFC-48F3-A4D8-E0F0D3B461A8}" dt="2025-11-07T07:02:23.644" v="236970"/>
          <ac:cxnSpMkLst>
            <pc:docMk/>
            <pc:sldMk cId="2108781205" sldId="2147483072"/>
            <ac:cxnSpMk id="9" creationId="{0B405998-B1CC-15E4-9A00-46C66669A02C}"/>
          </ac:cxnSpMkLst>
        </pc:cxnChg>
        <pc:cxnChg chg="mod ord">
          <ac:chgData name="Yiqun Dai" userId="360a2182-b97f-4635-b990-04f846616e33" providerId="ADAL" clId="{8F04EA49-0EFC-48F3-A4D8-E0F0D3B461A8}" dt="2025-11-07T07:02:23.644" v="236972"/>
          <ac:cxnSpMkLst>
            <pc:docMk/>
            <pc:sldMk cId="2108781205" sldId="2147483072"/>
            <ac:cxnSpMk id="25" creationId="{9AB33597-44A0-19FA-FC25-DA358AD4E9E3}"/>
          </ac:cxnSpMkLst>
        </pc:cxnChg>
        <pc:cxnChg chg="mod ord">
          <ac:chgData name="Yiqun Dai" userId="360a2182-b97f-4635-b990-04f846616e33" providerId="ADAL" clId="{8F04EA49-0EFC-48F3-A4D8-E0F0D3B461A8}" dt="2025-11-07T07:02:23.644" v="236969"/>
          <ac:cxnSpMkLst>
            <pc:docMk/>
            <pc:sldMk cId="2108781205" sldId="2147483072"/>
            <ac:cxnSpMk id="26" creationId="{74DAF96B-67CD-F6B4-ACB0-6F47949DA811}"/>
          </ac:cxnSpMkLst>
        </pc:cxnChg>
        <pc:cxnChg chg="mod ord">
          <ac:chgData name="Yiqun Dai" userId="360a2182-b97f-4635-b990-04f846616e33" providerId="ADAL" clId="{8F04EA49-0EFC-48F3-A4D8-E0F0D3B461A8}" dt="2025-11-07T07:02:23.633" v="236967"/>
          <ac:cxnSpMkLst>
            <pc:docMk/>
            <pc:sldMk cId="2108781205" sldId="2147483072"/>
            <ac:cxnSpMk id="48" creationId="{9B4CA144-CCD9-0732-5B14-395DAAA67C17}"/>
          </ac:cxnSpMkLst>
        </pc:cxnChg>
        <pc:cxnChg chg="mod ord">
          <ac:chgData name="Yiqun Dai" userId="360a2182-b97f-4635-b990-04f846616e33" providerId="ADAL" clId="{8F04EA49-0EFC-48F3-A4D8-E0F0D3B461A8}" dt="2025-11-07T07:02:23.644" v="236968"/>
          <ac:cxnSpMkLst>
            <pc:docMk/>
            <pc:sldMk cId="2108781205" sldId="2147483072"/>
            <ac:cxnSpMk id="81" creationId="{38D15DFA-24BA-36C0-D6F8-4E4A9EB131E5}"/>
          </ac:cxnSpMkLst>
        </pc:cxnChg>
        <pc:cxnChg chg="mod ord">
          <ac:chgData name="Yiqun Dai" userId="360a2182-b97f-4635-b990-04f846616e33" providerId="ADAL" clId="{8F04EA49-0EFC-48F3-A4D8-E0F0D3B461A8}" dt="2025-11-07T07:02:23.633" v="236966"/>
          <ac:cxnSpMkLst>
            <pc:docMk/>
            <pc:sldMk cId="2108781205" sldId="2147483072"/>
            <ac:cxnSpMk id="123" creationId="{B9BC6987-32DD-953B-9602-D1C8A2F7C57A}"/>
          </ac:cxnSpMkLst>
        </pc:cxnChg>
        <pc:cxnChg chg="mod ord">
          <ac:chgData name="Yiqun Dai" userId="360a2182-b97f-4635-b990-04f846616e33" providerId="ADAL" clId="{8F04EA49-0EFC-48F3-A4D8-E0F0D3B461A8}" dt="2025-11-07T07:02:23.633" v="236965"/>
          <ac:cxnSpMkLst>
            <pc:docMk/>
            <pc:sldMk cId="2108781205" sldId="2147483072"/>
            <ac:cxnSpMk id="124" creationId="{B4BB84AD-6106-A3E9-4622-14316E79D32E}"/>
          </ac:cxnSpMkLst>
        </pc:cxnChg>
        <pc:cxnChg chg="mod ord">
          <ac:chgData name="Yiqun Dai" userId="360a2182-b97f-4635-b990-04f846616e33" providerId="ADAL" clId="{8F04EA49-0EFC-48F3-A4D8-E0F0D3B461A8}" dt="2025-11-07T07:02:23.633" v="236964"/>
          <ac:cxnSpMkLst>
            <pc:docMk/>
            <pc:sldMk cId="2108781205" sldId="2147483072"/>
            <ac:cxnSpMk id="125" creationId="{41B979AA-AC67-1DE0-5970-FFD1D394336C}"/>
          </ac:cxnSpMkLst>
        </pc:cxnChg>
      </pc:sldChg>
      <pc:sldChg chg="addSp delSp modSp add mod ord">
        <pc:chgData name="Yiqun Dai" userId="360a2182-b97f-4635-b990-04f846616e33" providerId="ADAL" clId="{8F04EA49-0EFC-48F3-A4D8-E0F0D3B461A8}" dt="2025-11-10T02:44:45.497" v="282992" actId="14100"/>
        <pc:sldMkLst>
          <pc:docMk/>
          <pc:sldMk cId="3413339761" sldId="2147483073"/>
        </pc:sldMkLst>
        <pc:spChg chg="mod ord">
          <ac:chgData name="Yiqun Dai" userId="360a2182-b97f-4635-b990-04f846616e33" providerId="ADAL" clId="{8F04EA49-0EFC-48F3-A4D8-E0F0D3B461A8}" dt="2025-11-07T07:17:08.169" v="240269" actId="948"/>
          <ac:spMkLst>
            <pc:docMk/>
            <pc:sldMk cId="3413339761" sldId="2147483073"/>
            <ac:spMk id="2" creationId="{8974724C-00D1-3F33-01C5-8D1814A617C0}"/>
          </ac:spMkLst>
        </pc:spChg>
        <pc:spChg chg="del mod">
          <ac:chgData name="Yiqun Dai" userId="360a2182-b97f-4635-b990-04f846616e33" providerId="ADAL" clId="{8F04EA49-0EFC-48F3-A4D8-E0F0D3B461A8}" dt="2025-11-07T07:09:55.772" v="240041"/>
          <ac:spMkLst>
            <pc:docMk/>
            <pc:sldMk cId="3413339761" sldId="2147483073"/>
            <ac:spMk id="3" creationId="{7BD716FD-56C0-4DA1-1772-5D2BD90A9D92}"/>
          </ac:spMkLst>
        </pc:spChg>
        <pc:spChg chg="del mod">
          <ac:chgData name="Yiqun Dai" userId="360a2182-b97f-4635-b990-04f846616e33" providerId="ADAL" clId="{8F04EA49-0EFC-48F3-A4D8-E0F0D3B461A8}" dt="2025-11-07T07:09:55.772" v="240035"/>
          <ac:spMkLst>
            <pc:docMk/>
            <pc:sldMk cId="3413339761" sldId="2147483073"/>
            <ac:spMk id="4" creationId="{4680589A-177C-580B-2F2E-B78C8E0A9B04}"/>
          </ac:spMkLst>
        </pc:spChg>
        <pc:spChg chg="del mod">
          <ac:chgData name="Yiqun Dai" userId="360a2182-b97f-4635-b990-04f846616e33" providerId="ADAL" clId="{8F04EA49-0EFC-48F3-A4D8-E0F0D3B461A8}" dt="2025-11-07T07:09:55.772" v="240044"/>
          <ac:spMkLst>
            <pc:docMk/>
            <pc:sldMk cId="3413339761" sldId="2147483073"/>
            <ac:spMk id="5" creationId="{5C7BA8F6-7CB7-03BC-1055-6A6F304838A9}"/>
          </ac:spMkLst>
        </pc:spChg>
        <pc:spChg chg="del mod">
          <ac:chgData name="Yiqun Dai" userId="360a2182-b97f-4635-b990-04f846616e33" providerId="ADAL" clId="{8F04EA49-0EFC-48F3-A4D8-E0F0D3B461A8}" dt="2025-11-07T07:09:55.772" v="240036"/>
          <ac:spMkLst>
            <pc:docMk/>
            <pc:sldMk cId="3413339761" sldId="2147483073"/>
            <ac:spMk id="6" creationId="{B6157302-4BD4-18D2-9E8B-D91EF5CC15E1}"/>
          </ac:spMkLst>
        </pc:spChg>
        <pc:spChg chg="del mod">
          <ac:chgData name="Yiqun Dai" userId="360a2182-b97f-4635-b990-04f846616e33" providerId="ADAL" clId="{8F04EA49-0EFC-48F3-A4D8-E0F0D3B461A8}" dt="2025-11-07T07:09:55.772" v="240039"/>
          <ac:spMkLst>
            <pc:docMk/>
            <pc:sldMk cId="3413339761" sldId="2147483073"/>
            <ac:spMk id="7" creationId="{F7AAADF1-9839-C7E7-E6FC-E3D3C87CC286}"/>
          </ac:spMkLst>
        </pc:spChg>
        <pc:spChg chg="del mod">
          <ac:chgData name="Yiqun Dai" userId="360a2182-b97f-4635-b990-04f846616e33" providerId="ADAL" clId="{8F04EA49-0EFC-48F3-A4D8-E0F0D3B461A8}" dt="2025-11-07T07:09:55.788" v="240046"/>
          <ac:spMkLst>
            <pc:docMk/>
            <pc:sldMk cId="3413339761" sldId="2147483073"/>
            <ac:spMk id="10" creationId="{D3CE0FB9-62D5-F69C-A45A-B0C44C07E6E6}"/>
          </ac:spMkLst>
        </pc:spChg>
        <pc:spChg chg="del mod">
          <ac:chgData name="Yiqun Dai" userId="360a2182-b97f-4635-b990-04f846616e33" providerId="ADAL" clId="{8F04EA49-0EFC-48F3-A4D8-E0F0D3B461A8}" dt="2025-11-07T07:09:55.772" v="240024"/>
          <ac:spMkLst>
            <pc:docMk/>
            <pc:sldMk cId="3413339761" sldId="2147483073"/>
            <ac:spMk id="12" creationId="{7B48CF4E-763E-6DA4-BD0C-F18A5FD6AFD4}"/>
          </ac:spMkLst>
        </pc:spChg>
        <pc:spChg chg="del mod">
          <ac:chgData name="Yiqun Dai" userId="360a2182-b97f-4635-b990-04f846616e33" providerId="ADAL" clId="{8F04EA49-0EFC-48F3-A4D8-E0F0D3B461A8}" dt="2025-11-07T07:09:55.789" v="240048"/>
          <ac:spMkLst>
            <pc:docMk/>
            <pc:sldMk cId="3413339761" sldId="2147483073"/>
            <ac:spMk id="13" creationId="{1E77E3DA-A967-AEDC-11CB-1EAA7E909CCA}"/>
          </ac:spMkLst>
        </pc:spChg>
        <pc:spChg chg="del mod ord">
          <ac:chgData name="Yiqun Dai" userId="360a2182-b97f-4635-b990-04f846616e33" providerId="ADAL" clId="{8F04EA49-0EFC-48F3-A4D8-E0F0D3B461A8}" dt="2025-11-07T07:09:55.772" v="240040"/>
          <ac:spMkLst>
            <pc:docMk/>
            <pc:sldMk cId="3413339761" sldId="2147483073"/>
            <ac:spMk id="14" creationId="{DC6B00BA-3BA2-1B8F-505E-DAE7B39C05B9}"/>
          </ac:spMkLst>
        </pc:spChg>
        <pc:spChg chg="del mod">
          <ac:chgData name="Yiqun Dai" userId="360a2182-b97f-4635-b990-04f846616e33" providerId="ADAL" clId="{8F04EA49-0EFC-48F3-A4D8-E0F0D3B461A8}" dt="2025-11-07T07:09:55.772" v="240032"/>
          <ac:spMkLst>
            <pc:docMk/>
            <pc:sldMk cId="3413339761" sldId="2147483073"/>
            <ac:spMk id="15" creationId="{4A447017-3ED5-C846-A63E-BE54079D887C}"/>
          </ac:spMkLst>
        </pc:spChg>
        <pc:spChg chg="del mod">
          <ac:chgData name="Yiqun Dai" userId="360a2182-b97f-4635-b990-04f846616e33" providerId="ADAL" clId="{8F04EA49-0EFC-48F3-A4D8-E0F0D3B461A8}" dt="2025-11-07T07:09:55.789" v="240047"/>
          <ac:spMkLst>
            <pc:docMk/>
            <pc:sldMk cId="3413339761" sldId="2147483073"/>
            <ac:spMk id="16" creationId="{8F445A0B-9DAD-7B07-ECEE-53F22DDC72EC}"/>
          </ac:spMkLst>
        </pc:spChg>
        <pc:spChg chg="del mod ord">
          <ac:chgData name="Yiqun Dai" userId="360a2182-b97f-4635-b990-04f846616e33" providerId="ADAL" clId="{8F04EA49-0EFC-48F3-A4D8-E0F0D3B461A8}" dt="2025-11-07T07:09:55.772" v="240043"/>
          <ac:spMkLst>
            <pc:docMk/>
            <pc:sldMk cId="3413339761" sldId="2147483073"/>
            <ac:spMk id="17" creationId="{55FF86AF-3C2A-47C6-7BCA-9D16CF4AA936}"/>
          </ac:spMkLst>
        </pc:spChg>
        <pc:spChg chg="del mod ord">
          <ac:chgData name="Yiqun Dai" userId="360a2182-b97f-4635-b990-04f846616e33" providerId="ADAL" clId="{8F04EA49-0EFC-48F3-A4D8-E0F0D3B461A8}" dt="2025-11-07T07:09:55.772" v="240042"/>
          <ac:spMkLst>
            <pc:docMk/>
            <pc:sldMk cId="3413339761" sldId="2147483073"/>
            <ac:spMk id="18" creationId="{73A2FFA5-D833-E416-A858-4777730F277F}"/>
          </ac:spMkLst>
        </pc:spChg>
        <pc:spChg chg="mod ord">
          <ac:chgData name="Yiqun Dai" userId="360a2182-b97f-4635-b990-04f846616e33" providerId="ADAL" clId="{8F04EA49-0EFC-48F3-A4D8-E0F0D3B461A8}" dt="2025-11-07T07:09:55.757" v="239990"/>
          <ac:spMkLst>
            <pc:docMk/>
            <pc:sldMk cId="3413339761" sldId="2147483073"/>
            <ac:spMk id="35" creationId="{255E84E4-837E-9640-9DF0-BDB4AA529036}"/>
          </ac:spMkLst>
        </pc:spChg>
        <pc:spChg chg="add del mod">
          <ac:chgData name="Yiqun Dai" userId="360a2182-b97f-4635-b990-04f846616e33" providerId="ADAL" clId="{8F04EA49-0EFC-48F3-A4D8-E0F0D3B461A8}" dt="2025-11-07T07:09:55.789" v="240053"/>
          <ac:spMkLst>
            <pc:docMk/>
            <pc:sldMk cId="3413339761" sldId="2147483073"/>
            <ac:spMk id="46" creationId="{E6319B3A-76F8-91EF-EFEB-3CDB1512D859}"/>
          </ac:spMkLst>
        </pc:spChg>
        <pc:spChg chg="add del mod ord">
          <ac:chgData name="Yiqun Dai" userId="360a2182-b97f-4635-b990-04f846616e33" providerId="ADAL" clId="{8F04EA49-0EFC-48F3-A4D8-E0F0D3B461A8}" dt="2025-11-07T07:09:55.772" v="240023"/>
          <ac:spMkLst>
            <pc:docMk/>
            <pc:sldMk cId="3413339761" sldId="2147483073"/>
            <ac:spMk id="47" creationId="{33C6EA5B-93C6-F7B6-C884-27C3C6FAF429}"/>
          </ac:spMkLst>
        </pc:spChg>
        <pc:spChg chg="add del mod ord">
          <ac:chgData name="Yiqun Dai" userId="360a2182-b97f-4635-b990-04f846616e33" providerId="ADAL" clId="{8F04EA49-0EFC-48F3-A4D8-E0F0D3B461A8}" dt="2025-11-07T07:09:55.772" v="240021"/>
          <ac:spMkLst>
            <pc:docMk/>
            <pc:sldMk cId="3413339761" sldId="2147483073"/>
            <ac:spMk id="49" creationId="{E8DFE116-AA5B-50D5-14E1-66B5CF8B92D7}"/>
          </ac:spMkLst>
        </pc:spChg>
        <pc:spChg chg="add del mod">
          <ac:chgData name="Yiqun Dai" userId="360a2182-b97f-4635-b990-04f846616e33" providerId="ADAL" clId="{8F04EA49-0EFC-48F3-A4D8-E0F0D3B461A8}" dt="2025-11-07T07:09:55.789" v="240049"/>
          <ac:spMkLst>
            <pc:docMk/>
            <pc:sldMk cId="3413339761" sldId="2147483073"/>
            <ac:spMk id="50" creationId="{3E8588B4-A17F-3B4F-6716-35772A8E6E83}"/>
          </ac:spMkLst>
        </pc:spChg>
        <pc:spChg chg="mod ord">
          <ac:chgData name="Yiqun Dai" userId="360a2182-b97f-4635-b990-04f846616e33" providerId="ADAL" clId="{8F04EA49-0EFC-48F3-A4D8-E0F0D3B461A8}" dt="2025-11-07T07:09:55.757" v="239988"/>
          <ac:spMkLst>
            <pc:docMk/>
            <pc:sldMk cId="3413339761" sldId="2147483073"/>
            <ac:spMk id="51" creationId="{EEA5D0DB-CA2C-3FCA-E56B-73312A1DED61}"/>
          </ac:spMkLst>
        </pc:spChg>
        <pc:spChg chg="mod ord">
          <ac:chgData name="Yiqun Dai" userId="360a2182-b97f-4635-b990-04f846616e33" providerId="ADAL" clId="{8F04EA49-0EFC-48F3-A4D8-E0F0D3B461A8}" dt="2025-11-07T07:09:55.757" v="239986"/>
          <ac:spMkLst>
            <pc:docMk/>
            <pc:sldMk cId="3413339761" sldId="2147483073"/>
            <ac:spMk id="52" creationId="{75D5B4AD-2174-399E-44B9-38E24A3D1993}"/>
          </ac:spMkLst>
        </pc:spChg>
        <pc:spChg chg="add del mod ord">
          <ac:chgData name="Yiqun Dai" userId="360a2182-b97f-4635-b990-04f846616e33" providerId="ADAL" clId="{8F04EA49-0EFC-48F3-A4D8-E0F0D3B461A8}" dt="2025-11-07T07:09:55.772" v="240026"/>
          <ac:spMkLst>
            <pc:docMk/>
            <pc:sldMk cId="3413339761" sldId="2147483073"/>
            <ac:spMk id="53" creationId="{43182916-3F09-DE02-8391-4892B73F139B}"/>
          </ac:spMkLst>
        </pc:spChg>
        <pc:spChg chg="add del mod ord">
          <ac:chgData name="Yiqun Dai" userId="360a2182-b97f-4635-b990-04f846616e33" providerId="ADAL" clId="{8F04EA49-0EFC-48F3-A4D8-E0F0D3B461A8}" dt="2025-11-07T07:09:55.772" v="240025"/>
          <ac:spMkLst>
            <pc:docMk/>
            <pc:sldMk cId="3413339761" sldId="2147483073"/>
            <ac:spMk id="55" creationId="{F6E84183-B3F0-8230-EE39-F16C04F3A5BE}"/>
          </ac:spMkLst>
        </pc:spChg>
        <pc:spChg chg="add del mod ord">
          <ac:chgData name="Yiqun Dai" userId="360a2182-b97f-4635-b990-04f846616e33" providerId="ADAL" clId="{8F04EA49-0EFC-48F3-A4D8-E0F0D3B461A8}" dt="2025-11-07T07:09:55.757" v="240016"/>
          <ac:spMkLst>
            <pc:docMk/>
            <pc:sldMk cId="3413339761" sldId="2147483073"/>
            <ac:spMk id="57" creationId="{318CFCE6-962F-2E17-297A-0CFDF6232318}"/>
          </ac:spMkLst>
        </pc:spChg>
        <pc:spChg chg="add del mod ord">
          <ac:chgData name="Yiqun Dai" userId="360a2182-b97f-4635-b990-04f846616e33" providerId="ADAL" clId="{8F04EA49-0EFC-48F3-A4D8-E0F0D3B461A8}" dt="2025-11-07T07:09:55.772" v="240018"/>
          <ac:spMkLst>
            <pc:docMk/>
            <pc:sldMk cId="3413339761" sldId="2147483073"/>
            <ac:spMk id="58" creationId="{DEDB1868-CA67-5439-3975-574265681B77}"/>
          </ac:spMkLst>
        </pc:spChg>
        <pc:spChg chg="del mod">
          <ac:chgData name="Yiqun Dai" userId="360a2182-b97f-4635-b990-04f846616e33" providerId="ADAL" clId="{8F04EA49-0EFC-48F3-A4D8-E0F0D3B461A8}" dt="2025-11-07T07:09:55.772" v="240045"/>
          <ac:spMkLst>
            <pc:docMk/>
            <pc:sldMk cId="3413339761" sldId="2147483073"/>
            <ac:spMk id="89" creationId="{D31C1B46-6AE9-6FF3-2DE2-D42572274034}"/>
          </ac:spMkLst>
        </pc:spChg>
        <pc:spChg chg="add del mod">
          <ac:chgData name="Yiqun Dai" userId="360a2182-b97f-4635-b990-04f846616e33" providerId="ADAL" clId="{8F04EA49-0EFC-48F3-A4D8-E0F0D3B461A8}" dt="2025-11-07T07:09:55.772" v="240029"/>
          <ac:spMkLst>
            <pc:docMk/>
            <pc:sldMk cId="3413339761" sldId="2147483073"/>
            <ac:spMk id="109" creationId="{0E0D9FF2-1DCD-3E3C-7174-3FB7038B0F9A}"/>
          </ac:spMkLst>
        </pc:spChg>
        <pc:spChg chg="del mod">
          <ac:chgData name="Yiqun Dai" userId="360a2182-b97f-4635-b990-04f846616e33" providerId="ADAL" clId="{8F04EA49-0EFC-48F3-A4D8-E0F0D3B461A8}" dt="2025-11-07T07:09:55.772" v="240033"/>
          <ac:spMkLst>
            <pc:docMk/>
            <pc:sldMk cId="3413339761" sldId="2147483073"/>
            <ac:spMk id="110" creationId="{9727EFA2-8BF9-1B05-B3A4-ABFF9BDBA2CC}"/>
          </ac:spMkLst>
        </pc:spChg>
        <pc:spChg chg="del mod">
          <ac:chgData name="Yiqun Dai" userId="360a2182-b97f-4635-b990-04f846616e33" providerId="ADAL" clId="{8F04EA49-0EFC-48F3-A4D8-E0F0D3B461A8}" dt="2025-11-07T07:09:55.772" v="240034"/>
          <ac:spMkLst>
            <pc:docMk/>
            <pc:sldMk cId="3413339761" sldId="2147483073"/>
            <ac:spMk id="111" creationId="{7CD06F8B-66C7-C011-A348-B7CC405AE8D6}"/>
          </ac:spMkLst>
        </pc:spChg>
        <pc:spChg chg="del mod">
          <ac:chgData name="Yiqun Dai" userId="360a2182-b97f-4635-b990-04f846616e33" providerId="ADAL" clId="{8F04EA49-0EFC-48F3-A4D8-E0F0D3B461A8}" dt="2025-11-07T07:09:55.789" v="240050"/>
          <ac:spMkLst>
            <pc:docMk/>
            <pc:sldMk cId="3413339761" sldId="2147483073"/>
            <ac:spMk id="114" creationId="{437E3542-770A-5A78-F929-D60000CF4D4E}"/>
          </ac:spMkLst>
        </pc:spChg>
        <pc:spChg chg="add del mod ord">
          <ac:chgData name="Yiqun Dai" userId="360a2182-b97f-4635-b990-04f846616e33" providerId="ADAL" clId="{8F04EA49-0EFC-48F3-A4D8-E0F0D3B461A8}" dt="2025-11-07T07:09:55.772" v="240028"/>
          <ac:spMkLst>
            <pc:docMk/>
            <pc:sldMk cId="3413339761" sldId="2147483073"/>
            <ac:spMk id="115" creationId="{C93260AF-04E3-FCE7-E416-D913951540A0}"/>
          </ac:spMkLst>
        </pc:spChg>
        <pc:spChg chg="del mod ord">
          <ac:chgData name="Yiqun Dai" userId="360a2182-b97f-4635-b990-04f846616e33" providerId="ADAL" clId="{8F04EA49-0EFC-48F3-A4D8-E0F0D3B461A8}" dt="2025-11-07T07:09:55.772" v="240027"/>
          <ac:spMkLst>
            <pc:docMk/>
            <pc:sldMk cId="3413339761" sldId="2147483073"/>
            <ac:spMk id="116" creationId="{D1C0EBE9-3FD3-8655-7236-FD36AD36C68A}"/>
          </ac:spMkLst>
        </pc:spChg>
        <pc:spChg chg="add del mod">
          <ac:chgData name="Yiqun Dai" userId="360a2182-b97f-4635-b990-04f846616e33" providerId="ADAL" clId="{8F04EA49-0EFC-48F3-A4D8-E0F0D3B461A8}" dt="2025-11-07T07:09:55.789" v="240051"/>
          <ac:spMkLst>
            <pc:docMk/>
            <pc:sldMk cId="3413339761" sldId="2147483073"/>
            <ac:spMk id="117" creationId="{481C25F6-DBCC-9D4F-B1B0-04343D99D10F}"/>
          </ac:spMkLst>
        </pc:spChg>
        <pc:spChg chg="add del mod ord">
          <ac:chgData name="Yiqun Dai" userId="360a2182-b97f-4635-b990-04f846616e33" providerId="ADAL" clId="{8F04EA49-0EFC-48F3-A4D8-E0F0D3B461A8}" dt="2025-11-07T07:09:55.772" v="240038"/>
          <ac:spMkLst>
            <pc:docMk/>
            <pc:sldMk cId="3413339761" sldId="2147483073"/>
            <ac:spMk id="118" creationId="{8E7920FB-7EF7-6D75-782C-B35F47D7CCBE}"/>
          </ac:spMkLst>
        </pc:spChg>
        <pc:spChg chg="add del mod ord">
          <ac:chgData name="Yiqun Dai" userId="360a2182-b97f-4635-b990-04f846616e33" providerId="ADAL" clId="{8F04EA49-0EFC-48F3-A4D8-E0F0D3B461A8}" dt="2025-11-07T07:09:55.772" v="240031"/>
          <ac:spMkLst>
            <pc:docMk/>
            <pc:sldMk cId="3413339761" sldId="2147483073"/>
            <ac:spMk id="119" creationId="{733CE515-F843-B39F-2306-BF067C2C1529}"/>
          </ac:spMkLst>
        </pc:spChg>
        <pc:spChg chg="del mod">
          <ac:chgData name="Yiqun Dai" userId="360a2182-b97f-4635-b990-04f846616e33" providerId="ADAL" clId="{8F04EA49-0EFC-48F3-A4D8-E0F0D3B461A8}" dt="2025-11-07T07:09:55.789" v="240052"/>
          <ac:spMkLst>
            <pc:docMk/>
            <pc:sldMk cId="3413339761" sldId="2147483073"/>
            <ac:spMk id="121" creationId="{53EF45FE-42B1-DC7D-A875-232F5F23A770}"/>
          </ac:spMkLst>
        </pc:spChg>
        <pc:spChg chg="add mod">
          <ac:chgData name="Yiqun Dai" userId="360a2182-b97f-4635-b990-04f846616e33" providerId="ADAL" clId="{8F04EA49-0EFC-48F3-A4D8-E0F0D3B461A8}" dt="2025-11-10T02:44:45.497" v="282992" actId="14100"/>
          <ac:spMkLst>
            <pc:docMk/>
            <pc:sldMk cId="3413339761" sldId="2147483073"/>
            <ac:spMk id="122" creationId="{7FFF5C18-FAD5-98B4-8033-B85B1FC36050}"/>
          </ac:spMkLst>
        </pc:spChg>
        <pc:spChg chg="del mod">
          <ac:chgData name="Yiqun Dai" userId="360a2182-b97f-4635-b990-04f846616e33" providerId="ADAL" clId="{8F04EA49-0EFC-48F3-A4D8-E0F0D3B461A8}" dt="2025-11-07T07:09:55.789" v="240061"/>
          <ac:spMkLst>
            <pc:docMk/>
            <pc:sldMk cId="3413339761" sldId="2147483073"/>
            <ac:spMk id="170" creationId="{34D85DB6-C6F3-8F23-0FB1-EE9C474393B4}"/>
          </ac:spMkLst>
        </pc:spChg>
        <pc:spChg chg="del mod">
          <ac:chgData name="Yiqun Dai" userId="360a2182-b97f-4635-b990-04f846616e33" providerId="ADAL" clId="{8F04EA49-0EFC-48F3-A4D8-E0F0D3B461A8}" dt="2025-11-07T07:09:55.789" v="240062"/>
          <ac:spMkLst>
            <pc:docMk/>
            <pc:sldMk cId="3413339761" sldId="2147483073"/>
            <ac:spMk id="171" creationId="{64305884-2A46-DD1E-CF9D-64CA4F5076D2}"/>
          </ac:spMkLst>
        </pc:spChg>
        <pc:spChg chg="del mod">
          <ac:chgData name="Yiqun Dai" userId="360a2182-b97f-4635-b990-04f846616e33" providerId="ADAL" clId="{8F04EA49-0EFC-48F3-A4D8-E0F0D3B461A8}" dt="2025-11-07T07:09:55.789" v="240063"/>
          <ac:spMkLst>
            <pc:docMk/>
            <pc:sldMk cId="3413339761" sldId="2147483073"/>
            <ac:spMk id="172" creationId="{0B3F9256-484E-B44F-894B-F7A026459BDE}"/>
          </ac:spMkLst>
        </pc:spChg>
        <pc:spChg chg="del mod">
          <ac:chgData name="Yiqun Dai" userId="360a2182-b97f-4635-b990-04f846616e33" providerId="ADAL" clId="{8F04EA49-0EFC-48F3-A4D8-E0F0D3B461A8}" dt="2025-11-07T07:09:55.789" v="240064"/>
          <ac:spMkLst>
            <pc:docMk/>
            <pc:sldMk cId="3413339761" sldId="2147483073"/>
            <ac:spMk id="173" creationId="{103C1631-3488-67C0-55F6-34676A8AC457}"/>
          </ac:spMkLst>
        </pc:spChg>
        <pc:spChg chg="add del mod ord">
          <ac:chgData name="Yiqun Dai" userId="360a2182-b97f-4635-b990-04f846616e33" providerId="ADAL" clId="{8F04EA49-0EFC-48F3-A4D8-E0F0D3B461A8}" dt="2025-11-07T07:09:55.789" v="240055"/>
          <ac:spMkLst>
            <pc:docMk/>
            <pc:sldMk cId="3413339761" sldId="2147483073"/>
            <ac:spMk id="176" creationId="{A190CD30-2FF5-460F-4A50-91C3DBB75628}"/>
          </ac:spMkLst>
        </pc:spChg>
        <pc:spChg chg="del mod">
          <ac:chgData name="Yiqun Dai" userId="360a2182-b97f-4635-b990-04f846616e33" providerId="ADAL" clId="{8F04EA49-0EFC-48F3-A4D8-E0F0D3B461A8}" dt="2025-11-07T07:09:55.789" v="240056"/>
          <ac:spMkLst>
            <pc:docMk/>
            <pc:sldMk cId="3413339761" sldId="2147483073"/>
            <ac:spMk id="177" creationId="{B4D8E606-6737-6F3D-2F8C-D8DBBCEBC0DC}"/>
          </ac:spMkLst>
        </pc:spChg>
        <pc:spChg chg="add del mod ord">
          <ac:chgData name="Yiqun Dai" userId="360a2182-b97f-4635-b990-04f846616e33" providerId="ADAL" clId="{8F04EA49-0EFC-48F3-A4D8-E0F0D3B461A8}" dt="2025-11-07T07:09:55.789" v="240058"/>
          <ac:spMkLst>
            <pc:docMk/>
            <pc:sldMk cId="3413339761" sldId="2147483073"/>
            <ac:spMk id="178" creationId="{4AB893D8-A47C-3FFA-399C-3B064ABB22B9}"/>
          </ac:spMkLst>
        </pc:spChg>
        <pc:spChg chg="add del mod ord">
          <ac:chgData name="Yiqun Dai" userId="360a2182-b97f-4635-b990-04f846616e33" providerId="ADAL" clId="{8F04EA49-0EFC-48F3-A4D8-E0F0D3B461A8}" dt="2025-11-07T07:09:55.789" v="240060"/>
          <ac:spMkLst>
            <pc:docMk/>
            <pc:sldMk cId="3413339761" sldId="2147483073"/>
            <ac:spMk id="179" creationId="{265B2FEF-2E36-EACF-6B26-38D100EDABCD}"/>
          </ac:spMkLst>
        </pc:spChg>
        <pc:spChg chg="mod ord">
          <ac:chgData name="Yiqun Dai" userId="360a2182-b97f-4635-b990-04f846616e33" providerId="ADAL" clId="{8F04EA49-0EFC-48F3-A4D8-E0F0D3B461A8}" dt="2025-11-07T07:11:58.920" v="240184"/>
          <ac:spMkLst>
            <pc:docMk/>
            <pc:sldMk cId="3413339761" sldId="2147483073"/>
            <ac:spMk id="204" creationId="{D18C2478-1769-2FB5-6C1B-5A688F351D68}"/>
          </ac:spMkLst>
        </pc:spChg>
        <pc:spChg chg="mod ord">
          <ac:chgData name="Yiqun Dai" userId="360a2182-b97f-4635-b990-04f846616e33" providerId="ADAL" clId="{8F04EA49-0EFC-48F3-A4D8-E0F0D3B461A8}" dt="2025-11-07T07:09:55.757" v="239994"/>
          <ac:spMkLst>
            <pc:docMk/>
            <pc:sldMk cId="3413339761" sldId="2147483073"/>
            <ac:spMk id="206" creationId="{EBDD1E46-CFF6-EC56-2911-3E99E92744F5}"/>
          </ac:spMkLst>
        </pc:spChg>
        <pc:spChg chg="mod ord">
          <ac:chgData name="Yiqun Dai" userId="360a2182-b97f-4635-b990-04f846616e33" providerId="ADAL" clId="{8F04EA49-0EFC-48F3-A4D8-E0F0D3B461A8}" dt="2025-11-07T07:09:55.757" v="239992"/>
          <ac:spMkLst>
            <pc:docMk/>
            <pc:sldMk cId="3413339761" sldId="2147483073"/>
            <ac:spMk id="259" creationId="{539357EF-50EB-AE54-295E-F3693E70F335}"/>
          </ac:spMkLst>
        </pc:spChg>
        <pc:graphicFrameChg chg="mod">
          <ac:chgData name="Yiqun Dai" userId="360a2182-b97f-4635-b990-04f846616e33" providerId="ADAL" clId="{8F04EA49-0EFC-48F3-A4D8-E0F0D3B461A8}" dt="2025-11-07T07:17:08.182" v="240271"/>
          <ac:graphicFrameMkLst>
            <pc:docMk/>
            <pc:sldMk cId="3413339761" sldId="2147483073"/>
            <ac:graphicFrameMk id="11" creationId="{D5B2AD06-3C63-52DA-607F-DE2E05FE3590}"/>
          </ac:graphicFrameMkLst>
        </pc:graphicFrameChg>
        <pc:graphicFrameChg chg="add mod ord">
          <ac:chgData name="Yiqun Dai" userId="360a2182-b97f-4635-b990-04f846616e33" providerId="ADAL" clId="{8F04EA49-0EFC-48F3-A4D8-E0F0D3B461A8}" dt="2025-11-07T07:09:55.772" v="240020"/>
          <ac:graphicFrameMkLst>
            <pc:docMk/>
            <pc:sldMk cId="3413339761" sldId="2147483073"/>
            <ac:graphicFrameMk id="120" creationId="{255B8697-F512-513C-3322-9C863A2CA40D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7:11:20.652" v="240177"/>
          <ac:graphicFrameMkLst>
            <pc:docMk/>
            <pc:sldMk cId="3413339761" sldId="2147483073"/>
            <ac:graphicFrameMk id="198" creationId="{4B969EF1-17FA-6C38-5435-9E02ABEA89F9}"/>
          </ac:graphicFrameMkLst>
        </pc:graphicFrameChg>
        <pc:cxnChg chg="add del mod ord">
          <ac:chgData name="Yiqun Dai" userId="360a2182-b97f-4635-b990-04f846616e33" providerId="ADAL" clId="{8F04EA49-0EFC-48F3-A4D8-E0F0D3B461A8}" dt="2025-11-07T07:09:55.757" v="240002"/>
          <ac:cxnSpMkLst>
            <pc:docMk/>
            <pc:sldMk cId="3413339761" sldId="2147483073"/>
            <ac:cxnSpMk id="9" creationId="{3D935503-FF16-B275-E872-1EF5231FB80D}"/>
          </ac:cxnSpMkLst>
        </pc:cxnChg>
        <pc:cxnChg chg="add del mod ord">
          <ac:chgData name="Yiqun Dai" userId="360a2182-b97f-4635-b990-04f846616e33" providerId="ADAL" clId="{8F04EA49-0EFC-48F3-A4D8-E0F0D3B461A8}" dt="2025-11-07T07:09:55.757" v="239998"/>
          <ac:cxnSpMkLst>
            <pc:docMk/>
            <pc:sldMk cId="3413339761" sldId="2147483073"/>
            <ac:cxnSpMk id="25" creationId="{AB6957C8-7617-3D58-2BED-CC56A584F93A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04"/>
          <ac:cxnSpMkLst>
            <pc:docMk/>
            <pc:sldMk cId="3413339761" sldId="2147483073"/>
            <ac:cxnSpMk id="26" creationId="{F4EEDD22-1155-5C64-3019-185083033A7E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00"/>
          <ac:cxnSpMkLst>
            <pc:docMk/>
            <pc:sldMk cId="3413339761" sldId="2147483073"/>
            <ac:cxnSpMk id="40" creationId="{C8D8368D-467D-C6BA-A444-BBC91CB2CC67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08"/>
          <ac:cxnSpMkLst>
            <pc:docMk/>
            <pc:sldMk cId="3413339761" sldId="2147483073"/>
            <ac:cxnSpMk id="48" creationId="{0F22AC41-7D56-A134-3842-12738EB42854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06"/>
          <ac:cxnSpMkLst>
            <pc:docMk/>
            <pc:sldMk cId="3413339761" sldId="2147483073"/>
            <ac:cxnSpMk id="81" creationId="{CCD24C00-ABF8-6D03-A3E0-4923F3D39164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10"/>
          <ac:cxnSpMkLst>
            <pc:docMk/>
            <pc:sldMk cId="3413339761" sldId="2147483073"/>
            <ac:cxnSpMk id="123" creationId="{D458536C-D91E-32EA-DA27-5D4F91A7370F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12"/>
          <ac:cxnSpMkLst>
            <pc:docMk/>
            <pc:sldMk cId="3413339761" sldId="2147483073"/>
            <ac:cxnSpMk id="124" creationId="{01F46A4E-6AA8-B0DD-A02E-82E8954A5BE2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14"/>
          <ac:cxnSpMkLst>
            <pc:docMk/>
            <pc:sldMk cId="3413339761" sldId="2147483073"/>
            <ac:cxnSpMk id="125" creationId="{22DF29A9-8B17-5518-25C7-0F37A0B6DFEA}"/>
          </ac:cxnSpMkLst>
        </pc:cxnChg>
      </pc:sldChg>
      <pc:sldChg chg="new del">
        <pc:chgData name="Yiqun Dai" userId="360a2182-b97f-4635-b990-04f846616e33" providerId="ADAL" clId="{8F04EA49-0EFC-48F3-A4D8-E0F0D3B461A8}" dt="2025-11-10T02:46:26.477" v="282994" actId="47"/>
        <pc:sldMkLst>
          <pc:docMk/>
          <pc:sldMk cId="4255977996" sldId="2147483074"/>
        </pc:sldMkLst>
      </pc:sldChg>
      <pc:sldChg chg="add del mod">
        <pc:chgData name="Yiqun Dai" userId="360a2182-b97f-4635-b990-04f846616e33" providerId="ADAL" clId="{8F04EA49-0EFC-48F3-A4D8-E0F0D3B461A8}" dt="2025-11-09T04:28:49.439" v="280328" actId="47"/>
        <pc:sldMkLst>
          <pc:docMk/>
          <pc:sldMk cId="1048334690" sldId="2147483075"/>
        </pc:sldMkLst>
      </pc:sldChg>
      <pc:sldChg chg="add del mod ord">
        <pc:chgData name="Yiqun Dai" userId="360a2182-b97f-4635-b990-04f846616e33" providerId="ADAL" clId="{8F04EA49-0EFC-48F3-A4D8-E0F0D3B461A8}" dt="2025-11-10T02:46:26.477" v="282994" actId="47"/>
        <pc:sldMkLst>
          <pc:docMk/>
          <pc:sldMk cId="4112128120" sldId="2147483076"/>
        </pc:sldMkLst>
      </pc:sldChg>
      <pc:sldChg chg="addSp modSp new del mod">
        <pc:chgData name="Yiqun Dai" userId="360a2182-b97f-4635-b990-04f846616e33" providerId="ADAL" clId="{8F04EA49-0EFC-48F3-A4D8-E0F0D3B461A8}" dt="2025-11-10T02:46:26.477" v="282994" actId="47"/>
        <pc:sldMkLst>
          <pc:docMk/>
          <pc:sldMk cId="1299715710" sldId="2147483077"/>
        </pc:sldMkLst>
        <pc:spChg chg="mod">
          <ac:chgData name="Yiqun Dai" userId="360a2182-b97f-4635-b990-04f846616e33" providerId="ADAL" clId="{8F04EA49-0EFC-48F3-A4D8-E0F0D3B461A8}" dt="2025-11-08T16:30:00.961" v="250180" actId="948"/>
          <ac:spMkLst>
            <pc:docMk/>
            <pc:sldMk cId="1299715710" sldId="2147483077"/>
            <ac:spMk id="3" creationId="{6DD2BABA-0E04-CB12-B978-70CB2C0279C2}"/>
          </ac:spMkLst>
        </pc:spChg>
        <pc:graphicFrameChg chg="add mod ord modVis">
          <ac:chgData name="Yiqun Dai" userId="360a2182-b97f-4635-b990-04f846616e33" providerId="ADAL" clId="{8F04EA49-0EFC-48F3-A4D8-E0F0D3B461A8}" dt="2025-11-08T16:30:00.961" v="250182"/>
          <ac:graphicFrameMkLst>
            <pc:docMk/>
            <pc:sldMk cId="1299715710" sldId="2147483077"/>
            <ac:graphicFrameMk id="4" creationId="{CC41571E-CE93-7AC0-85D5-30C837DAF039}"/>
          </ac:graphicFrameMkLst>
        </pc:graphicFrameChg>
      </pc:sldChg>
      <pc:sldChg chg="addSp delSp modSp new mod">
        <pc:chgData name="Yiqun Dai" userId="360a2182-b97f-4635-b990-04f846616e33" providerId="ADAL" clId="{8F04EA49-0EFC-48F3-A4D8-E0F0D3B461A8}" dt="2025-11-09T04:28:21.535" v="280327"/>
        <pc:sldMkLst>
          <pc:docMk/>
          <pc:sldMk cId="3782203074" sldId="2147483078"/>
        </pc:sldMkLst>
        <pc:spChg chg="mod ord">
          <ac:chgData name="Yiqun Dai" userId="360a2182-b97f-4635-b990-04f846616e33" providerId="ADAL" clId="{8F04EA49-0EFC-48F3-A4D8-E0F0D3B461A8}" dt="2025-11-09T04:28:21.520" v="280325" actId="948"/>
          <ac:spMkLst>
            <pc:docMk/>
            <pc:sldMk cId="3782203074" sldId="2147483078"/>
            <ac:spMk id="2" creationId="{55FB879D-49C4-3AD6-1024-6EF4C4A1F55B}"/>
          </ac:spMkLst>
        </pc:spChg>
        <pc:spChg chg="add mod">
          <ac:chgData name="Yiqun Dai" userId="360a2182-b97f-4635-b990-04f846616e33" providerId="ADAL" clId="{8F04EA49-0EFC-48F3-A4D8-E0F0D3B461A8}" dt="2025-11-09T04:27:10.944" v="280207"/>
          <ac:spMkLst>
            <pc:docMk/>
            <pc:sldMk cId="3782203074" sldId="2147483078"/>
            <ac:spMk id="5" creationId="{AA3ABC07-BAC6-D2CF-C122-D311E39F42E1}"/>
          </ac:spMkLst>
        </pc:spChg>
        <pc:spChg chg="add mod">
          <ac:chgData name="Yiqun Dai" userId="360a2182-b97f-4635-b990-04f846616e33" providerId="ADAL" clId="{8F04EA49-0EFC-48F3-A4D8-E0F0D3B461A8}" dt="2025-11-09T04:27:10.960" v="280214"/>
          <ac:spMkLst>
            <pc:docMk/>
            <pc:sldMk cId="3782203074" sldId="2147483078"/>
            <ac:spMk id="6" creationId="{8CF938BD-1A32-283E-FFB3-7F782FE332A2}"/>
          </ac:spMkLst>
        </pc:spChg>
        <pc:spChg chg="add mod">
          <ac:chgData name="Yiqun Dai" userId="360a2182-b97f-4635-b990-04f846616e33" providerId="ADAL" clId="{8F04EA49-0EFC-48F3-A4D8-E0F0D3B461A8}" dt="2025-11-09T04:27:10.976" v="280232"/>
          <ac:spMkLst>
            <pc:docMk/>
            <pc:sldMk cId="3782203074" sldId="2147483078"/>
            <ac:spMk id="120" creationId="{69FF4D9B-F53F-ACB4-166C-D14DB4F0F507}"/>
          </ac:spMkLst>
        </pc:spChg>
        <pc:spChg chg="add mod">
          <ac:chgData name="Yiqun Dai" userId="360a2182-b97f-4635-b990-04f846616e33" providerId="ADAL" clId="{8F04EA49-0EFC-48F3-A4D8-E0F0D3B461A8}" dt="2025-11-09T04:27:10.976" v="280233"/>
          <ac:spMkLst>
            <pc:docMk/>
            <pc:sldMk cId="3782203074" sldId="2147483078"/>
            <ac:spMk id="122" creationId="{BBA79E20-9229-BDDD-5D71-AC278B3550B3}"/>
          </ac:spMkLst>
        </pc:spChg>
        <pc:spChg chg="add mod">
          <ac:chgData name="Yiqun Dai" userId="360a2182-b97f-4635-b990-04f846616e33" providerId="ADAL" clId="{8F04EA49-0EFC-48F3-A4D8-E0F0D3B461A8}" dt="2025-11-09T04:27:10.976" v="280234"/>
          <ac:spMkLst>
            <pc:docMk/>
            <pc:sldMk cId="3782203074" sldId="2147483078"/>
            <ac:spMk id="123" creationId="{0845FA76-57BF-1C64-D308-80DEBA64A5D4}"/>
          </ac:spMkLst>
        </pc:spChg>
        <pc:spChg chg="add mod ord">
          <ac:chgData name="Yiqun Dai" userId="360a2182-b97f-4635-b990-04f846616e33" providerId="ADAL" clId="{8F04EA49-0EFC-48F3-A4D8-E0F0D3B461A8}" dt="2025-11-09T04:27:10.973" v="280227"/>
          <ac:spMkLst>
            <pc:docMk/>
            <pc:sldMk cId="3782203074" sldId="2147483078"/>
            <ac:spMk id="124" creationId="{73F51571-3D31-BB8F-096E-3CC0B86B3E53}"/>
          </ac:spMkLst>
        </pc:spChg>
        <pc:spChg chg="add mod ord">
          <ac:chgData name="Yiqun Dai" userId="360a2182-b97f-4635-b990-04f846616e33" providerId="ADAL" clId="{8F04EA49-0EFC-48F3-A4D8-E0F0D3B461A8}" dt="2025-11-09T04:27:10.973" v="280229"/>
          <ac:spMkLst>
            <pc:docMk/>
            <pc:sldMk cId="3782203074" sldId="2147483078"/>
            <ac:spMk id="125" creationId="{0343D8F9-65A3-A260-B28A-B492B2202015}"/>
          </ac:spMkLst>
        </pc:spChg>
        <pc:spChg chg="add mod ord">
          <ac:chgData name="Yiqun Dai" userId="360a2182-b97f-4635-b990-04f846616e33" providerId="ADAL" clId="{8F04EA49-0EFC-48F3-A4D8-E0F0D3B461A8}" dt="2025-11-09T04:27:10.976" v="280231"/>
          <ac:spMkLst>
            <pc:docMk/>
            <pc:sldMk cId="3782203074" sldId="2147483078"/>
            <ac:spMk id="126" creationId="{BA8B0477-AD56-8E70-0395-1ADF15E447F4}"/>
          </ac:spMkLst>
        </pc:spChg>
        <pc:spChg chg="add mod ord">
          <ac:chgData name="Yiqun Dai" userId="360a2182-b97f-4635-b990-04f846616e33" providerId="ADAL" clId="{8F04EA49-0EFC-48F3-A4D8-E0F0D3B461A8}" dt="2025-11-09T04:27:10.960" v="280215"/>
          <ac:spMkLst>
            <pc:docMk/>
            <pc:sldMk cId="3782203074" sldId="2147483078"/>
            <ac:spMk id="264" creationId="{42D37D27-F5B5-79CC-237C-0FE97EE50339}"/>
          </ac:spMkLst>
        </pc:spChg>
        <pc:spChg chg="add mod ord">
          <ac:chgData name="Yiqun Dai" userId="360a2182-b97f-4635-b990-04f846616e33" providerId="ADAL" clId="{8F04EA49-0EFC-48F3-A4D8-E0F0D3B461A8}" dt="2025-11-09T04:27:10.960" v="280216"/>
          <ac:spMkLst>
            <pc:docMk/>
            <pc:sldMk cId="3782203074" sldId="2147483078"/>
            <ac:spMk id="265" creationId="{5FB799B1-0A35-BC5A-A1E2-F73DABAC4F82}"/>
          </ac:spMkLst>
        </pc:spChg>
        <pc:spChg chg="add mod ord">
          <ac:chgData name="Yiqun Dai" userId="360a2182-b97f-4635-b990-04f846616e33" providerId="ADAL" clId="{8F04EA49-0EFC-48F3-A4D8-E0F0D3B461A8}" dt="2025-11-09T04:27:10.960" v="280217"/>
          <ac:spMkLst>
            <pc:docMk/>
            <pc:sldMk cId="3782203074" sldId="2147483078"/>
            <ac:spMk id="266" creationId="{E3DAA97C-387C-68CA-023E-5F36FDA219E7}"/>
          </ac:spMkLst>
        </pc:spChg>
        <pc:spChg chg="add mod ord">
          <ac:chgData name="Yiqun Dai" userId="360a2182-b97f-4635-b990-04f846616e33" providerId="ADAL" clId="{8F04EA49-0EFC-48F3-A4D8-E0F0D3B461A8}" dt="2025-11-09T04:27:10.960" v="280218"/>
          <ac:spMkLst>
            <pc:docMk/>
            <pc:sldMk cId="3782203074" sldId="2147483078"/>
            <ac:spMk id="267" creationId="{00CCF0FF-677C-9338-B2D6-90E0C0B9787B}"/>
          </ac:spMkLst>
        </pc:spChg>
        <pc:spChg chg="add mod ord">
          <ac:chgData name="Yiqun Dai" userId="360a2182-b97f-4635-b990-04f846616e33" providerId="ADAL" clId="{8F04EA49-0EFC-48F3-A4D8-E0F0D3B461A8}" dt="2025-11-09T04:27:10.960" v="280220"/>
          <ac:spMkLst>
            <pc:docMk/>
            <pc:sldMk cId="3782203074" sldId="2147483078"/>
            <ac:spMk id="268" creationId="{B1F67D94-A55F-6E87-F56B-AA047B69AA3B}"/>
          </ac:spMkLst>
        </pc:spChg>
        <pc:spChg chg="add mod ord">
          <ac:chgData name="Yiqun Dai" userId="360a2182-b97f-4635-b990-04f846616e33" providerId="ADAL" clId="{8F04EA49-0EFC-48F3-A4D8-E0F0D3B461A8}" dt="2025-11-09T04:27:10.960" v="280221"/>
          <ac:spMkLst>
            <pc:docMk/>
            <pc:sldMk cId="3782203074" sldId="2147483078"/>
            <ac:spMk id="269" creationId="{CCD82100-CFBF-6D5A-1C7B-EB538DAF629C}"/>
          </ac:spMkLst>
        </pc:spChg>
        <pc:spChg chg="add mod ord">
          <ac:chgData name="Yiqun Dai" userId="360a2182-b97f-4635-b990-04f846616e33" providerId="ADAL" clId="{8F04EA49-0EFC-48F3-A4D8-E0F0D3B461A8}" dt="2025-11-09T04:27:10.960" v="280222"/>
          <ac:spMkLst>
            <pc:docMk/>
            <pc:sldMk cId="3782203074" sldId="2147483078"/>
            <ac:spMk id="270" creationId="{F212CDA8-C9F1-586D-4BF6-0BAAE3E9060E}"/>
          </ac:spMkLst>
        </pc:spChg>
        <pc:spChg chg="add mod ord">
          <ac:chgData name="Yiqun Dai" userId="360a2182-b97f-4635-b990-04f846616e33" providerId="ADAL" clId="{8F04EA49-0EFC-48F3-A4D8-E0F0D3B461A8}" dt="2025-11-09T04:27:10.960" v="280223"/>
          <ac:spMkLst>
            <pc:docMk/>
            <pc:sldMk cId="3782203074" sldId="2147483078"/>
            <ac:spMk id="271" creationId="{781F84A9-0E53-0126-5FAF-B7CFE5A6728F}"/>
          </ac:spMkLst>
        </pc:spChg>
        <pc:spChg chg="add mod ord">
          <ac:chgData name="Yiqun Dai" userId="360a2182-b97f-4635-b990-04f846616e33" providerId="ADAL" clId="{8F04EA49-0EFC-48F3-A4D8-E0F0D3B461A8}" dt="2025-11-09T04:27:10.944" v="280199"/>
          <ac:spMkLst>
            <pc:docMk/>
            <pc:sldMk cId="3782203074" sldId="2147483078"/>
            <ac:spMk id="272" creationId="{4BCC02E0-7A1B-A9E8-B374-610A79F00D10}"/>
          </ac:spMkLst>
        </pc:spChg>
        <pc:spChg chg="add mod ord">
          <ac:chgData name="Yiqun Dai" userId="360a2182-b97f-4635-b990-04f846616e33" providerId="ADAL" clId="{8F04EA49-0EFC-48F3-A4D8-E0F0D3B461A8}" dt="2025-11-09T04:27:10.944" v="280200"/>
          <ac:spMkLst>
            <pc:docMk/>
            <pc:sldMk cId="3782203074" sldId="2147483078"/>
            <ac:spMk id="273" creationId="{E4AB7981-F4E2-70D2-6383-5142E58AF47C}"/>
          </ac:spMkLst>
        </pc:spChg>
        <pc:spChg chg="add mod ord">
          <ac:chgData name="Yiqun Dai" userId="360a2182-b97f-4635-b990-04f846616e33" providerId="ADAL" clId="{8F04EA49-0EFC-48F3-A4D8-E0F0D3B461A8}" dt="2025-11-09T04:27:10.944" v="280201"/>
          <ac:spMkLst>
            <pc:docMk/>
            <pc:sldMk cId="3782203074" sldId="2147483078"/>
            <ac:spMk id="274" creationId="{CFB7C5EB-6C59-BF57-D4E2-2885D5174A89}"/>
          </ac:spMkLst>
        </pc:spChg>
        <pc:spChg chg="add del mod modVis">
          <ac:chgData name="Yiqun Dai" userId="360a2182-b97f-4635-b990-04f846616e33" providerId="ADAL" clId="{8F04EA49-0EFC-48F3-A4D8-E0F0D3B461A8}" dt="2025-11-09T03:19:02.765" v="267503"/>
          <ac:spMkLst>
            <pc:docMk/>
            <pc:sldMk cId="3782203074" sldId="2147483078"/>
            <ac:spMk id="336" creationId="{B3F3DEA4-8027-B5C9-EAA7-6D355D88E3C9}"/>
          </ac:spMkLst>
        </pc:spChg>
        <pc:spChg chg="add del mod modVis">
          <ac:chgData name="Yiqun Dai" userId="360a2182-b97f-4635-b990-04f846616e33" providerId="ADAL" clId="{8F04EA49-0EFC-48F3-A4D8-E0F0D3B461A8}" dt="2025-11-09T03:19:03.115" v="267704"/>
          <ac:spMkLst>
            <pc:docMk/>
            <pc:sldMk cId="3782203074" sldId="2147483078"/>
            <ac:spMk id="340" creationId="{B39A7A90-A0CE-6D9A-1402-C90CC06E3A13}"/>
          </ac:spMkLst>
        </pc:spChg>
        <pc:spChg chg="add mod">
          <ac:chgData name="Yiqun Dai" userId="360a2182-b97f-4635-b990-04f846616e33" providerId="ADAL" clId="{8F04EA49-0EFC-48F3-A4D8-E0F0D3B461A8}" dt="2025-11-09T03:21:11.733" v="267880"/>
          <ac:spMkLst>
            <pc:docMk/>
            <pc:sldMk cId="3782203074" sldId="2147483078"/>
            <ac:spMk id="342" creationId="{7EDD1450-8243-3E3D-B488-0955B5F14DED}"/>
          </ac:spMkLst>
        </pc:spChg>
        <pc:spChg chg="add del mod modVis">
          <ac:chgData name="Yiqun Dai" userId="360a2182-b97f-4635-b990-04f846616e33" providerId="ADAL" clId="{8F04EA49-0EFC-48F3-A4D8-E0F0D3B461A8}" dt="2025-11-09T03:21:11.733" v="267880"/>
          <ac:spMkLst>
            <pc:docMk/>
            <pc:sldMk cId="3782203074" sldId="2147483078"/>
            <ac:spMk id="343" creationId="{D549BFD7-6FB5-C21A-F9A6-FBFA559694E6}"/>
          </ac:spMkLst>
        </pc:spChg>
        <pc:spChg chg="add mod">
          <ac:chgData name="Yiqun Dai" userId="360a2182-b97f-4635-b990-04f846616e33" providerId="ADAL" clId="{8F04EA49-0EFC-48F3-A4D8-E0F0D3B461A8}" dt="2025-11-09T03:21:11.716" v="267844" actId="207"/>
          <ac:spMkLst>
            <pc:docMk/>
            <pc:sldMk cId="3782203074" sldId="2147483078"/>
            <ac:spMk id="344" creationId="{CACB67AA-7BA8-ABA7-2436-F9638B3EA632}"/>
          </ac:spMkLst>
        </pc:spChg>
        <pc:spChg chg="add del mod modVis">
          <ac:chgData name="Yiqun Dai" userId="360a2182-b97f-4635-b990-04f846616e33" providerId="ADAL" clId="{8F04EA49-0EFC-48F3-A4D8-E0F0D3B461A8}" dt="2025-11-09T03:21:15.759" v="268205"/>
          <ac:spMkLst>
            <pc:docMk/>
            <pc:sldMk cId="3782203074" sldId="2147483078"/>
            <ac:spMk id="345" creationId="{0CDFDF20-3542-A1A7-0F01-A999380653F5}"/>
          </ac:spMkLst>
        </pc:spChg>
        <pc:spChg chg="add del mod modVis">
          <ac:chgData name="Yiqun Dai" userId="360a2182-b97f-4635-b990-04f846616e33" providerId="ADAL" clId="{8F04EA49-0EFC-48F3-A4D8-E0F0D3B461A8}" dt="2025-11-09T03:21:16.088" v="268372"/>
          <ac:spMkLst>
            <pc:docMk/>
            <pc:sldMk cId="3782203074" sldId="2147483078"/>
            <ac:spMk id="352" creationId="{96F70D96-BC37-EBF6-3463-1C7E4B52C75C}"/>
          </ac:spMkLst>
        </pc:spChg>
        <pc:spChg chg="add del mod modVis">
          <ac:chgData name="Yiqun Dai" userId="360a2182-b97f-4635-b990-04f846616e33" providerId="ADAL" clId="{8F04EA49-0EFC-48F3-A4D8-E0F0D3B461A8}" dt="2025-11-09T03:21:21.391" v="268507"/>
          <ac:spMkLst>
            <pc:docMk/>
            <pc:sldMk cId="3782203074" sldId="2147483078"/>
            <ac:spMk id="354" creationId="{24B06EDE-C312-B3A2-02F0-606AF356EABB}"/>
          </ac:spMkLst>
        </pc:spChg>
        <pc:spChg chg="add del mod modVis">
          <ac:chgData name="Yiqun Dai" userId="360a2182-b97f-4635-b990-04f846616e33" providerId="ADAL" clId="{8F04EA49-0EFC-48F3-A4D8-E0F0D3B461A8}" dt="2025-11-09T03:21:23.225" v="268706"/>
          <ac:spMkLst>
            <pc:docMk/>
            <pc:sldMk cId="3782203074" sldId="2147483078"/>
            <ac:spMk id="356" creationId="{CC9AD54E-DC01-16FD-9ABA-682EF9D23851}"/>
          </ac:spMkLst>
        </pc:spChg>
        <pc:spChg chg="add del mod modVis">
          <ac:chgData name="Yiqun Dai" userId="360a2182-b97f-4635-b990-04f846616e33" providerId="ADAL" clId="{8F04EA49-0EFC-48F3-A4D8-E0F0D3B461A8}" dt="2025-11-09T03:21:49.822" v="268793"/>
          <ac:spMkLst>
            <pc:docMk/>
            <pc:sldMk cId="3782203074" sldId="2147483078"/>
            <ac:spMk id="359" creationId="{28A3FC55-4EFB-E30A-5AE6-9B9EF52B3EC7}"/>
          </ac:spMkLst>
        </pc:spChg>
        <pc:spChg chg="add del mod modVis">
          <ac:chgData name="Yiqun Dai" userId="360a2182-b97f-4635-b990-04f846616e33" providerId="ADAL" clId="{8F04EA49-0EFC-48F3-A4D8-E0F0D3B461A8}" dt="2025-11-09T03:21:50.049" v="268919"/>
          <ac:spMkLst>
            <pc:docMk/>
            <pc:sldMk cId="3782203074" sldId="2147483078"/>
            <ac:spMk id="361" creationId="{40F807AB-5BF4-1039-E08D-2E61FAD0F717}"/>
          </ac:spMkLst>
        </pc:spChg>
        <pc:spChg chg="add del mod modVis">
          <ac:chgData name="Yiqun Dai" userId="360a2182-b97f-4635-b990-04f846616e33" providerId="ADAL" clId="{8F04EA49-0EFC-48F3-A4D8-E0F0D3B461A8}" dt="2025-11-09T03:21:53.542" v="269014"/>
          <ac:spMkLst>
            <pc:docMk/>
            <pc:sldMk cId="3782203074" sldId="2147483078"/>
            <ac:spMk id="363" creationId="{498C1148-5677-D888-9EF7-D53213F3B91D}"/>
          </ac:spMkLst>
        </pc:spChg>
        <pc:spChg chg="add del mod modVis">
          <ac:chgData name="Yiqun Dai" userId="360a2182-b97f-4635-b990-04f846616e33" providerId="ADAL" clId="{8F04EA49-0EFC-48F3-A4D8-E0F0D3B461A8}" dt="2025-11-09T03:21:53.742" v="269137"/>
          <ac:spMkLst>
            <pc:docMk/>
            <pc:sldMk cId="3782203074" sldId="2147483078"/>
            <ac:spMk id="365" creationId="{3A2BD8FD-4E7A-3FA6-4AE3-450A5EF2C28B}"/>
          </ac:spMkLst>
        </pc:spChg>
        <pc:spChg chg="add del mod modVis">
          <ac:chgData name="Yiqun Dai" userId="360a2182-b97f-4635-b990-04f846616e33" providerId="ADAL" clId="{8F04EA49-0EFC-48F3-A4D8-E0F0D3B461A8}" dt="2025-11-09T03:22:02.367" v="269224"/>
          <ac:spMkLst>
            <pc:docMk/>
            <pc:sldMk cId="3782203074" sldId="2147483078"/>
            <ac:spMk id="367" creationId="{279EB9E2-639E-E5C2-3C58-8B1228E34703}"/>
          </ac:spMkLst>
        </pc:spChg>
        <pc:spChg chg="add del mod modVis">
          <ac:chgData name="Yiqun Dai" userId="360a2182-b97f-4635-b990-04f846616e33" providerId="ADAL" clId="{8F04EA49-0EFC-48F3-A4D8-E0F0D3B461A8}" dt="2025-11-09T03:22:02.921" v="269311"/>
          <ac:spMkLst>
            <pc:docMk/>
            <pc:sldMk cId="3782203074" sldId="2147483078"/>
            <ac:spMk id="369" creationId="{9D6A1ACC-C61E-8509-792F-78C49B33A2D8}"/>
          </ac:spMkLst>
        </pc:spChg>
        <pc:spChg chg="add del mod modVis">
          <ac:chgData name="Yiqun Dai" userId="360a2182-b97f-4635-b990-04f846616e33" providerId="ADAL" clId="{8F04EA49-0EFC-48F3-A4D8-E0F0D3B461A8}" dt="2025-11-09T03:22:08.276" v="269411"/>
          <ac:spMkLst>
            <pc:docMk/>
            <pc:sldMk cId="3782203074" sldId="2147483078"/>
            <ac:spMk id="371" creationId="{8FE0855D-932D-6917-13DB-E99AAE9495D3}"/>
          </ac:spMkLst>
        </pc:spChg>
        <pc:spChg chg="add del mod modVis">
          <ac:chgData name="Yiqun Dai" userId="360a2182-b97f-4635-b990-04f846616e33" providerId="ADAL" clId="{8F04EA49-0EFC-48F3-A4D8-E0F0D3B461A8}" dt="2025-11-09T03:22:10.473" v="269498"/>
          <ac:spMkLst>
            <pc:docMk/>
            <pc:sldMk cId="3782203074" sldId="2147483078"/>
            <ac:spMk id="373" creationId="{99353DC7-67D3-B24A-2C47-E085A2E008D2}"/>
          </ac:spMkLst>
        </pc:spChg>
        <pc:spChg chg="add del mod modVis">
          <ac:chgData name="Yiqun Dai" userId="360a2182-b97f-4635-b990-04f846616e33" providerId="ADAL" clId="{8F04EA49-0EFC-48F3-A4D8-E0F0D3B461A8}" dt="2025-11-09T03:22:16.955" v="269595"/>
          <ac:spMkLst>
            <pc:docMk/>
            <pc:sldMk cId="3782203074" sldId="2147483078"/>
            <ac:spMk id="375" creationId="{68E54D47-8195-34EF-1AAA-389E4AD8F70E}"/>
          </ac:spMkLst>
        </pc:spChg>
        <pc:spChg chg="del mod modVis">
          <ac:chgData name="Yiqun Dai" userId="360a2182-b97f-4635-b990-04f846616e33" providerId="ADAL" clId="{8F04EA49-0EFC-48F3-A4D8-E0F0D3B461A8}" dt="2025-11-09T03:22:17.524" v="269649" actId="478"/>
          <ac:spMkLst>
            <pc:docMk/>
            <pc:sldMk cId="3782203074" sldId="2147483078"/>
            <ac:spMk id="377" creationId="{6C4E1614-F00B-C4CB-5BA7-85569CBE65CE}"/>
          </ac:spMkLst>
        </pc:spChg>
        <pc:spChg chg="add del mod modVis">
          <ac:chgData name="Yiqun Dai" userId="360a2182-b97f-4635-b990-04f846616e33" providerId="ADAL" clId="{8F04EA49-0EFC-48F3-A4D8-E0F0D3B461A8}" dt="2025-11-09T03:22:23.635" v="269750"/>
          <ac:spMkLst>
            <pc:docMk/>
            <pc:sldMk cId="3782203074" sldId="2147483078"/>
            <ac:spMk id="379" creationId="{6FB7F462-0EBD-7A47-42C3-E0C4F2B9B3DF}"/>
          </ac:spMkLst>
        </pc:spChg>
        <pc:spChg chg="add del mod modVis">
          <ac:chgData name="Yiqun Dai" userId="360a2182-b97f-4635-b990-04f846616e33" providerId="ADAL" clId="{8F04EA49-0EFC-48F3-A4D8-E0F0D3B461A8}" dt="2025-11-09T03:22:24.492" v="269837"/>
          <ac:spMkLst>
            <pc:docMk/>
            <pc:sldMk cId="3782203074" sldId="2147483078"/>
            <ac:spMk id="381" creationId="{0C23F99D-A45F-814D-06C0-AA767AB30104}"/>
          </ac:spMkLst>
        </pc:spChg>
        <pc:spChg chg="add del mod modVis">
          <ac:chgData name="Yiqun Dai" userId="360a2182-b97f-4635-b990-04f846616e33" providerId="ADAL" clId="{8F04EA49-0EFC-48F3-A4D8-E0F0D3B461A8}" dt="2025-11-09T03:22:32.272" v="269938"/>
          <ac:spMkLst>
            <pc:docMk/>
            <pc:sldMk cId="3782203074" sldId="2147483078"/>
            <ac:spMk id="383" creationId="{1CB7CF6C-0D44-954D-7030-3F61181FF72B}"/>
          </ac:spMkLst>
        </pc:spChg>
        <pc:spChg chg="add del mod modVis">
          <ac:chgData name="Yiqun Dai" userId="360a2182-b97f-4635-b990-04f846616e33" providerId="ADAL" clId="{8F04EA49-0EFC-48F3-A4D8-E0F0D3B461A8}" dt="2025-11-09T03:22:33.509" v="270025"/>
          <ac:spMkLst>
            <pc:docMk/>
            <pc:sldMk cId="3782203074" sldId="2147483078"/>
            <ac:spMk id="385" creationId="{25813CD5-B3D7-0B41-0A0A-3BA432506195}"/>
          </ac:spMkLst>
        </pc:spChg>
        <pc:spChg chg="add del mod modVis">
          <ac:chgData name="Yiqun Dai" userId="360a2182-b97f-4635-b990-04f846616e33" providerId="ADAL" clId="{8F04EA49-0EFC-48F3-A4D8-E0F0D3B461A8}" dt="2025-11-09T03:22:36.359" v="270131"/>
          <ac:spMkLst>
            <pc:docMk/>
            <pc:sldMk cId="3782203074" sldId="2147483078"/>
            <ac:spMk id="387" creationId="{C2959AE3-AC6A-0B85-387C-9EAABE3FAA7A}"/>
          </ac:spMkLst>
        </pc:spChg>
        <pc:spChg chg="add del mod modVis">
          <ac:chgData name="Yiqun Dai" userId="360a2182-b97f-4635-b990-04f846616e33" providerId="ADAL" clId="{8F04EA49-0EFC-48F3-A4D8-E0F0D3B461A8}" dt="2025-11-09T03:22:36.833" v="270218"/>
          <ac:spMkLst>
            <pc:docMk/>
            <pc:sldMk cId="3782203074" sldId="2147483078"/>
            <ac:spMk id="389" creationId="{44585E58-0807-4B55-5F46-40B38E208089}"/>
          </ac:spMkLst>
        </pc:spChg>
        <pc:spChg chg="add del mod modVis">
          <ac:chgData name="Yiqun Dai" userId="360a2182-b97f-4635-b990-04f846616e33" providerId="ADAL" clId="{8F04EA49-0EFC-48F3-A4D8-E0F0D3B461A8}" dt="2025-11-09T03:22:40.803" v="270323"/>
          <ac:spMkLst>
            <pc:docMk/>
            <pc:sldMk cId="3782203074" sldId="2147483078"/>
            <ac:spMk id="391" creationId="{A9A97514-FB6C-5B22-3559-0A702C1F8EAE}"/>
          </ac:spMkLst>
        </pc:spChg>
        <pc:spChg chg="add del mod modVis">
          <ac:chgData name="Yiqun Dai" userId="360a2182-b97f-4635-b990-04f846616e33" providerId="ADAL" clId="{8F04EA49-0EFC-48F3-A4D8-E0F0D3B461A8}" dt="2025-11-09T03:22:41.139" v="270410"/>
          <ac:spMkLst>
            <pc:docMk/>
            <pc:sldMk cId="3782203074" sldId="2147483078"/>
            <ac:spMk id="393" creationId="{EA3554F8-2FB7-CC5E-ECA5-C13DADA942BD}"/>
          </ac:spMkLst>
        </pc:spChg>
        <pc:spChg chg="add del mod modVis">
          <ac:chgData name="Yiqun Dai" userId="360a2182-b97f-4635-b990-04f846616e33" providerId="ADAL" clId="{8F04EA49-0EFC-48F3-A4D8-E0F0D3B461A8}" dt="2025-11-09T03:22:50.844" v="270709"/>
          <ac:spMkLst>
            <pc:docMk/>
            <pc:sldMk cId="3782203074" sldId="2147483078"/>
            <ac:spMk id="395" creationId="{726A1631-D86D-D774-4C78-FFB21D7EA4BE}"/>
          </ac:spMkLst>
        </pc:spChg>
        <pc:spChg chg="add del mod ord">
          <ac:chgData name="Yiqun Dai" userId="360a2182-b97f-4635-b990-04f846616e33" providerId="ADAL" clId="{8F04EA49-0EFC-48F3-A4D8-E0F0D3B461A8}" dt="2025-11-09T03:22:59.386" v="270950"/>
          <ac:spMkLst>
            <pc:docMk/>
            <pc:sldMk cId="3782203074" sldId="2147483078"/>
            <ac:spMk id="396" creationId="{DAFA0526-0330-B17A-B4D1-D6D432EBA383}"/>
          </ac:spMkLst>
        </pc:spChg>
        <pc:spChg chg="add del mod ord">
          <ac:chgData name="Yiqun Dai" userId="360a2182-b97f-4635-b990-04f846616e33" providerId="ADAL" clId="{8F04EA49-0EFC-48F3-A4D8-E0F0D3B461A8}" dt="2025-11-09T03:22:51.145" v="270789"/>
          <ac:spMkLst>
            <pc:docMk/>
            <pc:sldMk cId="3782203074" sldId="2147483078"/>
            <ac:spMk id="397" creationId="{BD72EFC9-722C-A004-C85E-FE43C7D8F806}"/>
          </ac:spMkLst>
        </pc:spChg>
        <pc:spChg chg="add del mod ord">
          <ac:chgData name="Yiqun Dai" userId="360a2182-b97f-4635-b990-04f846616e33" providerId="ADAL" clId="{8F04EA49-0EFC-48F3-A4D8-E0F0D3B461A8}" dt="2025-11-09T03:22:51.146" v="270808"/>
          <ac:spMkLst>
            <pc:docMk/>
            <pc:sldMk cId="3782203074" sldId="2147483078"/>
            <ac:spMk id="398" creationId="{6408407D-8614-C255-EEB7-C0B6F1C8E037}"/>
          </ac:spMkLst>
        </pc:spChg>
        <pc:spChg chg="add del mod modVis">
          <ac:chgData name="Yiqun Dai" userId="360a2182-b97f-4635-b990-04f846616e33" providerId="ADAL" clId="{8F04EA49-0EFC-48F3-A4D8-E0F0D3B461A8}" dt="2025-11-09T03:22:51.194" v="270853"/>
          <ac:spMkLst>
            <pc:docMk/>
            <pc:sldMk cId="3782203074" sldId="2147483078"/>
            <ac:spMk id="400" creationId="{3A274573-E6F4-A6B3-1FD8-3D3E2E987656}"/>
          </ac:spMkLst>
        </pc:spChg>
        <pc:spChg chg="add del mod modVis">
          <ac:chgData name="Yiqun Dai" userId="360a2182-b97f-4635-b990-04f846616e33" providerId="ADAL" clId="{8F04EA49-0EFC-48F3-A4D8-E0F0D3B461A8}" dt="2025-11-09T03:22:59.560" v="271028"/>
          <ac:spMkLst>
            <pc:docMk/>
            <pc:sldMk cId="3782203074" sldId="2147483078"/>
            <ac:spMk id="403" creationId="{5432217B-78FF-723B-1524-3891799DDAB7}"/>
          </ac:spMkLst>
        </pc:spChg>
        <pc:spChg chg="add del mod">
          <ac:chgData name="Yiqun Dai" userId="360a2182-b97f-4635-b990-04f846616e33" providerId="ADAL" clId="{8F04EA49-0EFC-48F3-A4D8-E0F0D3B461A8}" dt="2025-11-09T03:23:05.477" v="271273"/>
          <ac:spMkLst>
            <pc:docMk/>
            <pc:sldMk cId="3782203074" sldId="2147483078"/>
            <ac:spMk id="404" creationId="{2D396001-4E68-4A1F-813F-9FBFA57FB250}"/>
          </ac:spMkLst>
        </pc:spChg>
        <pc:spChg chg="add del mod modVis">
          <ac:chgData name="Yiqun Dai" userId="360a2182-b97f-4635-b990-04f846616e33" providerId="ADAL" clId="{8F04EA49-0EFC-48F3-A4D8-E0F0D3B461A8}" dt="2025-11-09T03:23:03.293" v="271220"/>
          <ac:spMkLst>
            <pc:docMk/>
            <pc:sldMk cId="3782203074" sldId="2147483078"/>
            <ac:spMk id="406" creationId="{132E5C4E-F46C-0B35-CA41-EBA714F102A8}"/>
          </ac:spMkLst>
        </pc:spChg>
        <pc:spChg chg="add del mod ord">
          <ac:chgData name="Yiqun Dai" userId="360a2182-b97f-4635-b990-04f846616e33" providerId="ADAL" clId="{8F04EA49-0EFC-48F3-A4D8-E0F0D3B461A8}" dt="2025-11-09T03:23:05.461" v="271268"/>
          <ac:spMkLst>
            <pc:docMk/>
            <pc:sldMk cId="3782203074" sldId="2147483078"/>
            <ac:spMk id="407" creationId="{2DE80A12-BE99-C2BA-705B-DCB3B3A170E6}"/>
          </ac:spMkLst>
        </pc:spChg>
        <pc:spChg chg="add del mod modVis">
          <ac:chgData name="Yiqun Dai" userId="360a2182-b97f-4635-b990-04f846616e33" providerId="ADAL" clId="{8F04EA49-0EFC-48F3-A4D8-E0F0D3B461A8}" dt="2025-11-09T03:23:05.577" v="271316"/>
          <ac:spMkLst>
            <pc:docMk/>
            <pc:sldMk cId="3782203074" sldId="2147483078"/>
            <ac:spMk id="410" creationId="{106A586D-C144-5127-4F50-008A7EFE7864}"/>
          </ac:spMkLst>
        </pc:spChg>
        <pc:spChg chg="add del mod modVis">
          <ac:chgData name="Yiqun Dai" userId="360a2182-b97f-4635-b990-04f846616e33" providerId="ADAL" clId="{8F04EA49-0EFC-48F3-A4D8-E0F0D3B461A8}" dt="2025-11-09T03:23:07.122" v="271507"/>
          <ac:spMkLst>
            <pc:docMk/>
            <pc:sldMk cId="3782203074" sldId="2147483078"/>
            <ac:spMk id="412" creationId="{61531FBE-3102-9C86-1CD3-717E3047CD54}"/>
          </ac:spMkLst>
        </pc:spChg>
        <pc:spChg chg="add mod ord">
          <ac:chgData name="Yiqun Dai" userId="360a2182-b97f-4635-b990-04f846616e33" providerId="ADAL" clId="{8F04EA49-0EFC-48F3-A4D8-E0F0D3B461A8}" dt="2025-11-09T04:27:10.944" v="280202"/>
          <ac:spMkLst>
            <pc:docMk/>
            <pc:sldMk cId="3782203074" sldId="2147483078"/>
            <ac:spMk id="413" creationId="{17F3B7F0-5584-8227-872C-6509F8A69F5D}"/>
          </ac:spMkLst>
        </pc:spChg>
        <pc:spChg chg="add del mod modVis">
          <ac:chgData name="Yiqun Dai" userId="360a2182-b97f-4635-b990-04f846616e33" providerId="ADAL" clId="{8F04EA49-0EFC-48F3-A4D8-E0F0D3B461A8}" dt="2025-11-09T03:23:34.329" v="272433"/>
          <ac:spMkLst>
            <pc:docMk/>
            <pc:sldMk cId="3782203074" sldId="2147483078"/>
            <ac:spMk id="416" creationId="{E33E38B8-FDE9-3A95-831D-F82357F69451}"/>
          </ac:spMkLst>
        </pc:spChg>
        <pc:spChg chg="add mod ord">
          <ac:chgData name="Yiqun Dai" userId="360a2182-b97f-4635-b990-04f846616e33" providerId="ADAL" clId="{8F04EA49-0EFC-48F3-A4D8-E0F0D3B461A8}" dt="2025-11-09T04:27:10.944" v="280203"/>
          <ac:spMkLst>
            <pc:docMk/>
            <pc:sldMk cId="3782203074" sldId="2147483078"/>
            <ac:spMk id="417" creationId="{CF5E2072-AED3-420D-DCA4-97F70D26F374}"/>
          </ac:spMkLst>
        </pc:spChg>
        <pc:spChg chg="add mod ord">
          <ac:chgData name="Yiqun Dai" userId="360a2182-b97f-4635-b990-04f846616e33" providerId="ADAL" clId="{8F04EA49-0EFC-48F3-A4D8-E0F0D3B461A8}" dt="2025-11-09T04:27:10.944" v="280205"/>
          <ac:spMkLst>
            <pc:docMk/>
            <pc:sldMk cId="3782203074" sldId="2147483078"/>
            <ac:spMk id="418" creationId="{6490860E-ADED-5197-D44B-4EDC913D0765}"/>
          </ac:spMkLst>
        </pc:spChg>
        <pc:spChg chg="add mod ord">
          <ac:chgData name="Yiqun Dai" userId="360a2182-b97f-4635-b990-04f846616e33" providerId="ADAL" clId="{8F04EA49-0EFC-48F3-A4D8-E0F0D3B461A8}" dt="2025-11-09T04:27:10.944" v="280206"/>
          <ac:spMkLst>
            <pc:docMk/>
            <pc:sldMk cId="3782203074" sldId="2147483078"/>
            <ac:spMk id="419" creationId="{79CF372C-5DD3-74C1-81D8-E66DACA9B57C}"/>
          </ac:spMkLst>
        </pc:spChg>
        <pc:spChg chg="add mod ord">
          <ac:chgData name="Yiqun Dai" userId="360a2182-b97f-4635-b990-04f846616e33" providerId="ADAL" clId="{8F04EA49-0EFC-48F3-A4D8-E0F0D3B461A8}" dt="2025-11-09T04:27:10.973" v="280225"/>
          <ac:spMkLst>
            <pc:docMk/>
            <pc:sldMk cId="3782203074" sldId="2147483078"/>
            <ac:spMk id="420" creationId="{FF50771F-D43A-AB6A-733E-9A2A14FF01AF}"/>
          </ac:spMkLst>
        </pc:spChg>
        <pc:spChg chg="add mod ord">
          <ac:chgData name="Yiqun Dai" userId="360a2182-b97f-4635-b990-04f846616e33" providerId="ADAL" clId="{8F04EA49-0EFC-48F3-A4D8-E0F0D3B461A8}" dt="2025-11-09T04:27:10.960" v="280208"/>
          <ac:spMkLst>
            <pc:docMk/>
            <pc:sldMk cId="3782203074" sldId="2147483078"/>
            <ac:spMk id="421" creationId="{C1AA4B55-1758-5947-0740-4D60275A18EB}"/>
          </ac:spMkLst>
        </pc:spChg>
        <pc:spChg chg="add mod ord">
          <ac:chgData name="Yiqun Dai" userId="360a2182-b97f-4635-b990-04f846616e33" providerId="ADAL" clId="{8F04EA49-0EFC-48F3-A4D8-E0F0D3B461A8}" dt="2025-11-09T04:27:10.960" v="280209"/>
          <ac:spMkLst>
            <pc:docMk/>
            <pc:sldMk cId="3782203074" sldId="2147483078"/>
            <ac:spMk id="422" creationId="{222F8A2A-0A36-A85E-9EFA-93443FE189E6}"/>
          </ac:spMkLst>
        </pc:spChg>
        <pc:spChg chg="add mod ord">
          <ac:chgData name="Yiqun Dai" userId="360a2182-b97f-4635-b990-04f846616e33" providerId="ADAL" clId="{8F04EA49-0EFC-48F3-A4D8-E0F0D3B461A8}" dt="2025-11-09T04:27:10.960" v="280210"/>
          <ac:spMkLst>
            <pc:docMk/>
            <pc:sldMk cId="3782203074" sldId="2147483078"/>
            <ac:spMk id="423" creationId="{2B883216-9479-468A-72D0-F2F15B88F25E}"/>
          </ac:spMkLst>
        </pc:spChg>
        <pc:spChg chg="add mod ord">
          <ac:chgData name="Yiqun Dai" userId="360a2182-b97f-4635-b990-04f846616e33" providerId="ADAL" clId="{8F04EA49-0EFC-48F3-A4D8-E0F0D3B461A8}" dt="2025-11-09T04:27:10.960" v="280211"/>
          <ac:spMkLst>
            <pc:docMk/>
            <pc:sldMk cId="3782203074" sldId="2147483078"/>
            <ac:spMk id="424" creationId="{AC38DB3E-0982-3AF6-4ACF-3772ADA5FE14}"/>
          </ac:spMkLst>
        </pc:spChg>
        <pc:spChg chg="add mod ord">
          <ac:chgData name="Yiqun Dai" userId="360a2182-b97f-4635-b990-04f846616e33" providerId="ADAL" clId="{8F04EA49-0EFC-48F3-A4D8-E0F0D3B461A8}" dt="2025-11-09T04:27:10.960" v="280212"/>
          <ac:spMkLst>
            <pc:docMk/>
            <pc:sldMk cId="3782203074" sldId="2147483078"/>
            <ac:spMk id="425" creationId="{213CB26B-BD65-6613-AFAD-5C24261206F3}"/>
          </ac:spMkLst>
        </pc:spChg>
        <pc:spChg chg="add mod ord">
          <ac:chgData name="Yiqun Dai" userId="360a2182-b97f-4635-b990-04f846616e33" providerId="ADAL" clId="{8F04EA49-0EFC-48F3-A4D8-E0F0D3B461A8}" dt="2025-11-09T04:27:10.960" v="280213"/>
          <ac:spMkLst>
            <pc:docMk/>
            <pc:sldMk cId="3782203074" sldId="2147483078"/>
            <ac:spMk id="426" creationId="{1AE7992E-D6A9-0457-1738-E4059D76E0BA}"/>
          </ac:spMkLst>
        </pc:spChg>
        <pc:spChg chg="del mod modVis">
          <ac:chgData name="Yiqun Dai" userId="360a2182-b97f-4635-b990-04f846616e33" providerId="ADAL" clId="{8F04EA49-0EFC-48F3-A4D8-E0F0D3B461A8}" dt="2025-11-09T03:23:35.276" v="272502" actId="478"/>
          <ac:spMkLst>
            <pc:docMk/>
            <pc:sldMk cId="3782203074" sldId="2147483078"/>
            <ac:spMk id="428" creationId="{4ECC0CDD-16E2-2558-149A-729843D48557}"/>
          </ac:spMkLst>
        </pc:spChg>
        <pc:spChg chg="add del mod modVis">
          <ac:chgData name="Yiqun Dai" userId="360a2182-b97f-4635-b990-04f846616e33" providerId="ADAL" clId="{8F04EA49-0EFC-48F3-A4D8-E0F0D3B461A8}" dt="2025-11-09T03:23:40.277" v="272989"/>
          <ac:spMkLst>
            <pc:docMk/>
            <pc:sldMk cId="3782203074" sldId="2147483078"/>
            <ac:spMk id="431" creationId="{8EA7B351-540D-95AF-067F-574BF66C1B45}"/>
          </ac:spMkLst>
        </pc:spChg>
        <pc:spChg chg="add del mod modVis">
          <ac:chgData name="Yiqun Dai" userId="360a2182-b97f-4635-b990-04f846616e33" providerId="ADAL" clId="{8F04EA49-0EFC-48F3-A4D8-E0F0D3B461A8}" dt="2025-11-09T03:23:41.642" v="273255"/>
          <ac:spMkLst>
            <pc:docMk/>
            <pc:sldMk cId="3782203074" sldId="2147483078"/>
            <ac:spMk id="433" creationId="{7B43E014-77C2-A3F2-78EC-CB23C3EB4D37}"/>
          </ac:spMkLst>
        </pc:spChg>
        <pc:spChg chg="add del mod modVis">
          <ac:chgData name="Yiqun Dai" userId="360a2182-b97f-4635-b990-04f846616e33" providerId="ADAL" clId="{8F04EA49-0EFC-48F3-A4D8-E0F0D3B461A8}" dt="2025-11-09T03:23:59.874" v="273762"/>
          <ac:spMkLst>
            <pc:docMk/>
            <pc:sldMk cId="3782203074" sldId="2147483078"/>
            <ac:spMk id="437" creationId="{A5A9F111-B291-1489-6FD5-D7BB0C4254EA}"/>
          </ac:spMkLst>
        </pc:spChg>
        <pc:spChg chg="add del mod modVis">
          <ac:chgData name="Yiqun Dai" userId="360a2182-b97f-4635-b990-04f846616e33" providerId="ADAL" clId="{8F04EA49-0EFC-48F3-A4D8-E0F0D3B461A8}" dt="2025-11-09T03:24:01.055" v="273998"/>
          <ac:spMkLst>
            <pc:docMk/>
            <pc:sldMk cId="3782203074" sldId="2147483078"/>
            <ac:spMk id="442" creationId="{00CBCCE6-9D11-E933-BDC2-DFF3E95BE3AE}"/>
          </ac:spMkLst>
        </pc:spChg>
        <pc:spChg chg="add del mod modVis">
          <ac:chgData name="Yiqun Dai" userId="360a2182-b97f-4635-b990-04f846616e33" providerId="ADAL" clId="{8F04EA49-0EFC-48F3-A4D8-E0F0D3B461A8}" dt="2025-11-09T03:24:08.440" v="274369"/>
          <ac:spMkLst>
            <pc:docMk/>
            <pc:sldMk cId="3782203074" sldId="2147483078"/>
            <ac:spMk id="448" creationId="{8B7980EF-2DDD-5B77-A34C-B6743CC27CC9}"/>
          </ac:spMkLst>
        </pc:spChg>
        <pc:spChg chg="add del mod modVis">
          <ac:chgData name="Yiqun Dai" userId="360a2182-b97f-4635-b990-04f846616e33" providerId="ADAL" clId="{8F04EA49-0EFC-48F3-A4D8-E0F0D3B461A8}" dt="2025-11-09T03:24:09.627" v="274595"/>
          <ac:spMkLst>
            <pc:docMk/>
            <pc:sldMk cId="3782203074" sldId="2147483078"/>
            <ac:spMk id="450" creationId="{65D23FDE-0800-DD80-A242-3DA39FF20E4F}"/>
          </ac:spMkLst>
        </pc:spChg>
        <pc:spChg chg="add del mod modVis">
          <ac:chgData name="Yiqun Dai" userId="360a2182-b97f-4635-b990-04f846616e33" providerId="ADAL" clId="{8F04EA49-0EFC-48F3-A4D8-E0F0D3B461A8}" dt="2025-11-09T03:25:26.705" v="274727"/>
          <ac:spMkLst>
            <pc:docMk/>
            <pc:sldMk cId="3782203074" sldId="2147483078"/>
            <ac:spMk id="456" creationId="{EF5CD051-90E4-E468-8BB6-B2764551199D}"/>
          </ac:spMkLst>
        </pc:spChg>
        <pc:spChg chg="add del mod modVis">
          <ac:chgData name="Yiqun Dai" userId="360a2182-b97f-4635-b990-04f846616e33" providerId="ADAL" clId="{8F04EA49-0EFC-48F3-A4D8-E0F0D3B461A8}" dt="2025-11-09T03:25:27.048" v="274891"/>
          <ac:spMkLst>
            <pc:docMk/>
            <pc:sldMk cId="3782203074" sldId="2147483078"/>
            <ac:spMk id="458" creationId="{19C01CF1-A491-EF8C-C124-76653CCB69CA}"/>
          </ac:spMkLst>
        </pc:spChg>
        <pc:spChg chg="add del mod modVis">
          <ac:chgData name="Yiqun Dai" userId="360a2182-b97f-4635-b990-04f846616e33" providerId="ADAL" clId="{8F04EA49-0EFC-48F3-A4D8-E0F0D3B461A8}" dt="2025-11-09T03:25:38.132" v="275113"/>
          <ac:spMkLst>
            <pc:docMk/>
            <pc:sldMk cId="3782203074" sldId="2147483078"/>
            <ac:spMk id="464" creationId="{D5F8147B-1F27-4BA6-2232-28CD4413D72B}"/>
          </ac:spMkLst>
        </pc:spChg>
        <pc:spChg chg="add del mod modVis">
          <ac:chgData name="Yiqun Dai" userId="360a2182-b97f-4635-b990-04f846616e33" providerId="ADAL" clId="{8F04EA49-0EFC-48F3-A4D8-E0F0D3B461A8}" dt="2025-11-09T03:25:38.818" v="275290"/>
          <ac:spMkLst>
            <pc:docMk/>
            <pc:sldMk cId="3782203074" sldId="2147483078"/>
            <ac:spMk id="473" creationId="{7466E6BE-9B28-6993-D7C5-25F85DBAA11A}"/>
          </ac:spMkLst>
        </pc:spChg>
        <pc:spChg chg="add del mod modVis">
          <ac:chgData name="Yiqun Dai" userId="360a2182-b97f-4635-b990-04f846616e33" providerId="ADAL" clId="{8F04EA49-0EFC-48F3-A4D8-E0F0D3B461A8}" dt="2025-11-09T03:25:40.984" v="275415"/>
          <ac:spMkLst>
            <pc:docMk/>
            <pc:sldMk cId="3782203074" sldId="2147483078"/>
            <ac:spMk id="479" creationId="{03839667-B017-172F-6E3D-9301E55CAACC}"/>
          </ac:spMkLst>
        </pc:spChg>
        <pc:spChg chg="add del mod modVis">
          <ac:chgData name="Yiqun Dai" userId="360a2182-b97f-4635-b990-04f846616e33" providerId="ADAL" clId="{8F04EA49-0EFC-48F3-A4D8-E0F0D3B461A8}" dt="2025-11-09T03:25:42.073" v="275588"/>
          <ac:spMkLst>
            <pc:docMk/>
            <pc:sldMk cId="3782203074" sldId="2147483078"/>
            <ac:spMk id="481" creationId="{51C794CF-D378-CD38-D453-801E3255A706}"/>
          </ac:spMkLst>
        </pc:spChg>
        <pc:spChg chg="add del mod modVis">
          <ac:chgData name="Yiqun Dai" userId="360a2182-b97f-4635-b990-04f846616e33" providerId="ADAL" clId="{8F04EA49-0EFC-48F3-A4D8-E0F0D3B461A8}" dt="2025-11-09T03:25:42.725" v="275713"/>
          <ac:spMkLst>
            <pc:docMk/>
            <pc:sldMk cId="3782203074" sldId="2147483078"/>
            <ac:spMk id="487" creationId="{F0920CC9-FFFF-CBEB-81C0-93C1284EBB56}"/>
          </ac:spMkLst>
        </pc:spChg>
        <pc:spChg chg="add del mod modVis">
          <ac:chgData name="Yiqun Dai" userId="360a2182-b97f-4635-b990-04f846616e33" providerId="ADAL" clId="{8F04EA49-0EFC-48F3-A4D8-E0F0D3B461A8}" dt="2025-11-09T03:25:43.585" v="275880"/>
          <ac:spMkLst>
            <pc:docMk/>
            <pc:sldMk cId="3782203074" sldId="2147483078"/>
            <ac:spMk id="489" creationId="{FCEF43E6-8F4B-99DE-3567-72163733C917}"/>
          </ac:spMkLst>
        </pc:spChg>
        <pc:spChg chg="add del mod modVis">
          <ac:chgData name="Yiqun Dai" userId="360a2182-b97f-4635-b990-04f846616e33" providerId="ADAL" clId="{8F04EA49-0EFC-48F3-A4D8-E0F0D3B461A8}" dt="2025-11-09T03:25:44.568" v="275991"/>
          <ac:spMkLst>
            <pc:docMk/>
            <pc:sldMk cId="3782203074" sldId="2147483078"/>
            <ac:spMk id="495" creationId="{4E1A1550-799F-9645-669E-625670358E7F}"/>
          </ac:spMkLst>
        </pc:spChg>
        <pc:spChg chg="add del mod modVis">
          <ac:chgData name="Yiqun Dai" userId="360a2182-b97f-4635-b990-04f846616e33" providerId="ADAL" clId="{8F04EA49-0EFC-48F3-A4D8-E0F0D3B461A8}" dt="2025-11-09T03:25:45.415" v="276156"/>
          <ac:spMkLst>
            <pc:docMk/>
            <pc:sldMk cId="3782203074" sldId="2147483078"/>
            <ac:spMk id="497" creationId="{88A28FF2-A114-B252-74D3-AD60D3899D27}"/>
          </ac:spMkLst>
        </pc:spChg>
        <pc:spChg chg="add del mod modVis">
          <ac:chgData name="Yiqun Dai" userId="360a2182-b97f-4635-b990-04f846616e33" providerId="ADAL" clId="{8F04EA49-0EFC-48F3-A4D8-E0F0D3B461A8}" dt="2025-11-09T03:25:46.938" v="276265"/>
          <ac:spMkLst>
            <pc:docMk/>
            <pc:sldMk cId="3782203074" sldId="2147483078"/>
            <ac:spMk id="503" creationId="{CD3FE497-A970-38C8-4909-340579CA4862}"/>
          </ac:spMkLst>
        </pc:spChg>
        <pc:spChg chg="add del mod modVis">
          <ac:chgData name="Yiqun Dai" userId="360a2182-b97f-4635-b990-04f846616e33" providerId="ADAL" clId="{8F04EA49-0EFC-48F3-A4D8-E0F0D3B461A8}" dt="2025-11-09T03:25:47.720" v="276428"/>
          <ac:spMkLst>
            <pc:docMk/>
            <pc:sldMk cId="3782203074" sldId="2147483078"/>
            <ac:spMk id="505" creationId="{292F7BC7-BE06-62E8-BB94-F354A4DB1E66}"/>
          </ac:spMkLst>
        </pc:spChg>
        <pc:spChg chg="add del mod modVis">
          <ac:chgData name="Yiqun Dai" userId="360a2182-b97f-4635-b990-04f846616e33" providerId="ADAL" clId="{8F04EA49-0EFC-48F3-A4D8-E0F0D3B461A8}" dt="2025-11-09T03:25:48.777" v="276537"/>
          <ac:spMkLst>
            <pc:docMk/>
            <pc:sldMk cId="3782203074" sldId="2147483078"/>
            <ac:spMk id="511" creationId="{7F72A717-BF35-91D9-2A66-2DEEFEAB9201}"/>
          </ac:spMkLst>
        </pc:spChg>
        <pc:spChg chg="add del mod modVis">
          <ac:chgData name="Yiqun Dai" userId="360a2182-b97f-4635-b990-04f846616e33" providerId="ADAL" clId="{8F04EA49-0EFC-48F3-A4D8-E0F0D3B461A8}" dt="2025-11-09T03:25:51.139" v="276697"/>
          <ac:spMkLst>
            <pc:docMk/>
            <pc:sldMk cId="3782203074" sldId="2147483078"/>
            <ac:spMk id="513" creationId="{B587FBFE-28F9-AEBD-A4BF-B45438DD3660}"/>
          </ac:spMkLst>
        </pc:spChg>
        <pc:spChg chg="add del mod modVis">
          <ac:chgData name="Yiqun Dai" userId="360a2182-b97f-4635-b990-04f846616e33" providerId="ADAL" clId="{8F04EA49-0EFC-48F3-A4D8-E0F0D3B461A8}" dt="2025-11-09T03:25:55.545" v="276810"/>
          <ac:spMkLst>
            <pc:docMk/>
            <pc:sldMk cId="3782203074" sldId="2147483078"/>
            <ac:spMk id="519" creationId="{57741F7D-0B06-E1CC-09C0-8CD6B95D04A7}"/>
          </ac:spMkLst>
        </pc:spChg>
        <pc:spChg chg="add del mod modVis">
          <ac:chgData name="Yiqun Dai" userId="360a2182-b97f-4635-b990-04f846616e33" providerId="ADAL" clId="{8F04EA49-0EFC-48F3-A4D8-E0F0D3B461A8}" dt="2025-11-09T03:25:55.975" v="276973"/>
          <ac:spMkLst>
            <pc:docMk/>
            <pc:sldMk cId="3782203074" sldId="2147483078"/>
            <ac:spMk id="521" creationId="{FF47F45B-408A-E265-4F95-570450A4A6FD}"/>
          </ac:spMkLst>
        </pc:spChg>
        <pc:spChg chg="add del mod modVis">
          <ac:chgData name="Yiqun Dai" userId="360a2182-b97f-4635-b990-04f846616e33" providerId="ADAL" clId="{8F04EA49-0EFC-48F3-A4D8-E0F0D3B461A8}" dt="2025-11-09T03:26:00.543" v="277146"/>
          <ac:spMkLst>
            <pc:docMk/>
            <pc:sldMk cId="3782203074" sldId="2147483078"/>
            <ac:spMk id="527" creationId="{3C243A71-BC7A-E7B3-F448-3D86A372BE7C}"/>
          </ac:spMkLst>
        </pc:spChg>
        <pc:spChg chg="add del mod modVis">
          <ac:chgData name="Yiqun Dai" userId="360a2182-b97f-4635-b990-04f846616e33" providerId="ADAL" clId="{8F04EA49-0EFC-48F3-A4D8-E0F0D3B461A8}" dt="2025-11-09T03:26:01.130" v="277316"/>
          <ac:spMkLst>
            <pc:docMk/>
            <pc:sldMk cId="3782203074" sldId="2147483078"/>
            <ac:spMk id="533" creationId="{4B9DB2D3-1876-23EA-214F-B0977B7E1F8A}"/>
          </ac:spMkLst>
        </pc:spChg>
        <pc:spChg chg="add del mod modVis">
          <ac:chgData name="Yiqun Dai" userId="360a2182-b97f-4635-b990-04f846616e33" providerId="ADAL" clId="{8F04EA49-0EFC-48F3-A4D8-E0F0D3B461A8}" dt="2025-11-09T03:26:02.859" v="277434"/>
          <ac:spMkLst>
            <pc:docMk/>
            <pc:sldMk cId="3782203074" sldId="2147483078"/>
            <ac:spMk id="539" creationId="{195823DF-10FF-DF7B-0318-33589B10B14D}"/>
          </ac:spMkLst>
        </pc:spChg>
        <pc:spChg chg="add del mod modVis">
          <ac:chgData name="Yiqun Dai" userId="360a2182-b97f-4635-b990-04f846616e33" providerId="ADAL" clId="{8F04EA49-0EFC-48F3-A4D8-E0F0D3B461A8}" dt="2025-11-09T03:26:03.335" v="277600"/>
          <ac:spMkLst>
            <pc:docMk/>
            <pc:sldMk cId="3782203074" sldId="2147483078"/>
            <ac:spMk id="541" creationId="{E0B60687-15CD-1909-5AA2-6085AF83D016}"/>
          </ac:spMkLst>
        </pc:spChg>
        <pc:spChg chg="add del mod modVis">
          <ac:chgData name="Yiqun Dai" userId="360a2182-b97f-4635-b990-04f846616e33" providerId="ADAL" clId="{8F04EA49-0EFC-48F3-A4D8-E0F0D3B461A8}" dt="2025-11-09T03:26:04.881" v="277710"/>
          <ac:spMkLst>
            <pc:docMk/>
            <pc:sldMk cId="3782203074" sldId="2147483078"/>
            <ac:spMk id="547" creationId="{4212E1A2-9E7E-1A59-3961-327AF71423F6}"/>
          </ac:spMkLst>
        </pc:spChg>
        <pc:spChg chg="add del mod modVis">
          <ac:chgData name="Yiqun Dai" userId="360a2182-b97f-4635-b990-04f846616e33" providerId="ADAL" clId="{8F04EA49-0EFC-48F3-A4D8-E0F0D3B461A8}" dt="2025-11-09T03:26:05.403" v="277874"/>
          <ac:spMkLst>
            <pc:docMk/>
            <pc:sldMk cId="3782203074" sldId="2147483078"/>
            <ac:spMk id="549" creationId="{393409BD-2229-E894-1ED8-2D367F9FA8FC}"/>
          </ac:spMkLst>
        </pc:spChg>
        <pc:spChg chg="add mod">
          <ac:chgData name="Yiqun Dai" userId="360a2182-b97f-4635-b990-04f846616e33" providerId="ADAL" clId="{8F04EA49-0EFC-48F3-A4D8-E0F0D3B461A8}" dt="2025-11-09T04:27:10.976" v="280236"/>
          <ac:spMkLst>
            <pc:docMk/>
            <pc:sldMk cId="3782203074" sldId="2147483078"/>
            <ac:spMk id="555" creationId="{6F0A8082-0442-A78D-992A-1F2952291069}"/>
          </ac:spMkLst>
        </pc:spChg>
        <pc:spChg chg="add del mod modVis">
          <ac:chgData name="Yiqun Dai" userId="360a2182-b97f-4635-b990-04f846616e33" providerId="ADAL" clId="{8F04EA49-0EFC-48F3-A4D8-E0F0D3B461A8}" dt="2025-11-09T03:26:11.912" v="278023"/>
          <ac:spMkLst>
            <pc:docMk/>
            <pc:sldMk cId="3782203074" sldId="2147483078"/>
            <ac:spMk id="556" creationId="{09444053-27B7-7EB3-A0C6-BDDE1AF9ED61}"/>
          </ac:spMkLst>
        </pc:spChg>
        <pc:spChg chg="add mod">
          <ac:chgData name="Yiqun Dai" userId="360a2182-b97f-4635-b990-04f846616e33" providerId="ADAL" clId="{8F04EA49-0EFC-48F3-A4D8-E0F0D3B461A8}" dt="2025-11-09T04:27:10.976" v="280235"/>
          <ac:spMkLst>
            <pc:docMk/>
            <pc:sldMk cId="3782203074" sldId="2147483078"/>
            <ac:spMk id="557" creationId="{F9A5B3FB-2117-EDB9-3358-ABAA8B800EF7}"/>
          </ac:spMkLst>
        </pc:spChg>
        <pc:spChg chg="add del mod modVis">
          <ac:chgData name="Yiqun Dai" userId="360a2182-b97f-4635-b990-04f846616e33" providerId="ADAL" clId="{8F04EA49-0EFC-48F3-A4D8-E0F0D3B461A8}" dt="2025-11-09T04:23:45.669" v="278194"/>
          <ac:spMkLst>
            <pc:docMk/>
            <pc:sldMk cId="3782203074" sldId="2147483078"/>
            <ac:spMk id="558" creationId="{45CF12F4-A63F-73E5-0744-5E0FCDAF9517}"/>
          </ac:spMkLst>
        </pc:spChg>
        <pc:spChg chg="add del mod modVis">
          <ac:chgData name="Yiqun Dai" userId="360a2182-b97f-4635-b990-04f846616e33" providerId="ADAL" clId="{8F04EA49-0EFC-48F3-A4D8-E0F0D3B461A8}" dt="2025-11-09T04:23:46.057" v="278360"/>
          <ac:spMkLst>
            <pc:docMk/>
            <pc:sldMk cId="3782203074" sldId="2147483078"/>
            <ac:spMk id="560" creationId="{8D4512C9-679B-05E0-CA6A-80F2C3ACE015}"/>
          </ac:spMkLst>
        </pc:spChg>
        <pc:spChg chg="add del mod modVis">
          <ac:chgData name="Yiqun Dai" userId="360a2182-b97f-4635-b990-04f846616e33" providerId="ADAL" clId="{8F04EA49-0EFC-48F3-A4D8-E0F0D3B461A8}" dt="2025-11-09T04:23:48.715" v="278506"/>
          <ac:spMkLst>
            <pc:docMk/>
            <pc:sldMk cId="3782203074" sldId="2147483078"/>
            <ac:spMk id="566" creationId="{8588A57B-FF04-C2E3-C37E-85849803BF92}"/>
          </ac:spMkLst>
        </pc:spChg>
        <pc:spChg chg="add del mod modVis">
          <ac:chgData name="Yiqun Dai" userId="360a2182-b97f-4635-b990-04f846616e33" providerId="ADAL" clId="{8F04EA49-0EFC-48F3-A4D8-E0F0D3B461A8}" dt="2025-11-09T04:23:49.014" v="278672"/>
          <ac:spMkLst>
            <pc:docMk/>
            <pc:sldMk cId="3782203074" sldId="2147483078"/>
            <ac:spMk id="568" creationId="{08F4275D-0E90-22EB-8609-440995566B28}"/>
          </ac:spMkLst>
        </pc:spChg>
        <pc:spChg chg="add del mod modVis">
          <ac:chgData name="Yiqun Dai" userId="360a2182-b97f-4635-b990-04f846616e33" providerId="ADAL" clId="{8F04EA49-0EFC-48F3-A4D8-E0F0D3B461A8}" dt="2025-11-09T04:24:02.103" v="278701"/>
          <ac:spMkLst>
            <pc:docMk/>
            <pc:sldMk cId="3782203074" sldId="2147483078"/>
            <ac:spMk id="574" creationId="{70EBF121-8B29-8AC7-3E80-8B026A04A6F9}"/>
          </ac:spMkLst>
        </pc:spChg>
        <pc:spChg chg="add del mod modVis">
          <ac:chgData name="Yiqun Dai" userId="360a2182-b97f-4635-b990-04f846616e33" providerId="ADAL" clId="{8F04EA49-0EFC-48F3-A4D8-E0F0D3B461A8}" dt="2025-11-09T04:24:11.587" v="278730"/>
          <ac:spMkLst>
            <pc:docMk/>
            <pc:sldMk cId="3782203074" sldId="2147483078"/>
            <ac:spMk id="575" creationId="{2FCD4D5C-298F-DC54-59FC-83CBA1BCDFDC}"/>
          </ac:spMkLst>
        </pc:spChg>
        <pc:spChg chg="add mod ord">
          <ac:chgData name="Yiqun Dai" userId="360a2182-b97f-4635-b990-04f846616e33" providerId="ADAL" clId="{8F04EA49-0EFC-48F3-A4D8-E0F0D3B461A8}" dt="2025-11-09T04:27:10.976" v="280238"/>
          <ac:spMkLst>
            <pc:docMk/>
            <pc:sldMk cId="3782203074" sldId="2147483078"/>
            <ac:spMk id="576" creationId="{31A080CC-9697-5E52-78B5-505FD44A5672}"/>
          </ac:spMkLst>
        </pc:spChg>
        <pc:spChg chg="add del mod modVis">
          <ac:chgData name="Yiqun Dai" userId="360a2182-b97f-4635-b990-04f846616e33" providerId="ADAL" clId="{8F04EA49-0EFC-48F3-A4D8-E0F0D3B461A8}" dt="2025-11-09T04:25:42.892" v="278999"/>
          <ac:spMkLst>
            <pc:docMk/>
            <pc:sldMk cId="3782203074" sldId="2147483078"/>
            <ac:spMk id="577" creationId="{A494F88D-2CC9-3CF1-B9DA-3DD28705B03A}"/>
          </ac:spMkLst>
        </pc:spChg>
        <pc:spChg chg="add del mod modVis">
          <ac:chgData name="Yiqun Dai" userId="360a2182-b97f-4635-b990-04f846616e33" providerId="ADAL" clId="{8F04EA49-0EFC-48F3-A4D8-E0F0D3B461A8}" dt="2025-11-09T04:25:43.036" v="279167"/>
          <ac:spMkLst>
            <pc:docMk/>
            <pc:sldMk cId="3782203074" sldId="2147483078"/>
            <ac:spMk id="579" creationId="{42F6ED69-B426-F2FF-41E7-164250E827A2}"/>
          </ac:spMkLst>
        </pc:spChg>
        <pc:spChg chg="add del mod modVis">
          <ac:chgData name="Yiqun Dai" userId="360a2182-b97f-4635-b990-04f846616e33" providerId="ADAL" clId="{8F04EA49-0EFC-48F3-A4D8-E0F0D3B461A8}" dt="2025-11-09T04:25:45.048" v="279391"/>
          <ac:spMkLst>
            <pc:docMk/>
            <pc:sldMk cId="3782203074" sldId="2147483078"/>
            <ac:spMk id="585" creationId="{B1856737-B314-3962-E0B1-3F89C3AF1DCB}"/>
          </ac:spMkLst>
        </pc:spChg>
        <pc:spChg chg="add del mod modVis">
          <ac:chgData name="Yiqun Dai" userId="360a2182-b97f-4635-b990-04f846616e33" providerId="ADAL" clId="{8F04EA49-0EFC-48F3-A4D8-E0F0D3B461A8}" dt="2025-11-09T04:25:45.205" v="279559"/>
          <ac:spMkLst>
            <pc:docMk/>
            <pc:sldMk cId="3782203074" sldId="2147483078"/>
            <ac:spMk id="587" creationId="{761AAA80-F870-12AD-CA6A-5474DCAAB503}"/>
          </ac:spMkLst>
        </pc:spChg>
        <pc:spChg chg="add del mod modVis">
          <ac:chgData name="Yiqun Dai" userId="360a2182-b97f-4635-b990-04f846616e33" providerId="ADAL" clId="{8F04EA49-0EFC-48F3-A4D8-E0F0D3B461A8}" dt="2025-11-09T04:27:05.911" v="279692"/>
          <ac:spMkLst>
            <pc:docMk/>
            <pc:sldMk cId="3782203074" sldId="2147483078"/>
            <ac:spMk id="593" creationId="{AE0D451C-9EE5-9790-83F6-938EBA6B718D}"/>
          </ac:spMkLst>
        </pc:spChg>
        <pc:spChg chg="add del mod modVis">
          <ac:chgData name="Yiqun Dai" userId="360a2182-b97f-4635-b990-04f846616e33" providerId="ADAL" clId="{8F04EA49-0EFC-48F3-A4D8-E0F0D3B461A8}" dt="2025-11-09T04:27:06.207" v="279926"/>
          <ac:spMkLst>
            <pc:docMk/>
            <pc:sldMk cId="3782203074" sldId="2147483078"/>
            <ac:spMk id="595" creationId="{FC4D19D3-4060-0E6E-C7F3-70822E2B2C2A}"/>
          </ac:spMkLst>
        </pc:spChg>
        <pc:spChg chg="add del mod modVis">
          <ac:chgData name="Yiqun Dai" userId="360a2182-b97f-4635-b990-04f846616e33" providerId="ADAL" clId="{8F04EA49-0EFC-48F3-A4D8-E0F0D3B461A8}" dt="2025-11-09T04:27:10.154" v="280057"/>
          <ac:spMkLst>
            <pc:docMk/>
            <pc:sldMk cId="3782203074" sldId="2147483078"/>
            <ac:spMk id="602" creationId="{EAABB8EC-DFE5-71C9-1B62-476E3C35325D}"/>
          </ac:spMkLst>
        </pc:spChg>
        <pc:spChg chg="add del mod modVis">
          <ac:chgData name="Yiqun Dai" userId="360a2182-b97f-4635-b990-04f846616e33" providerId="ADAL" clId="{8F04EA49-0EFC-48F3-A4D8-E0F0D3B461A8}" dt="2025-11-09T04:27:10.976" v="280240"/>
          <ac:spMkLst>
            <pc:docMk/>
            <pc:sldMk cId="3782203074" sldId="2147483078"/>
            <ac:spMk id="604" creationId="{5E6645B8-4ECA-C36C-B243-36118D8786B4}"/>
          </ac:spMkLst>
        </pc:spChg>
        <pc:graphicFrameChg chg="add mod ord modVis">
          <ac:chgData name="Yiqun Dai" userId="360a2182-b97f-4635-b990-04f846616e33" providerId="ADAL" clId="{8F04EA49-0EFC-48F3-A4D8-E0F0D3B461A8}" dt="2025-11-09T04:28:21.535" v="280327"/>
          <ac:graphicFrameMkLst>
            <pc:docMk/>
            <pc:sldMk cId="3782203074" sldId="2147483078"/>
            <ac:graphicFrameMk id="11" creationId="{C305DA93-495D-3429-0D23-05A991A8D5AB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19:02.670" v="267444"/>
          <ac:graphicFrameMkLst>
            <pc:docMk/>
            <pc:sldMk cId="3782203074" sldId="2147483078"/>
            <ac:graphicFrameMk id="335" creationId="{40DB6838-25CD-3F3C-73A4-092B155A635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19:03.044" v="267665"/>
          <ac:graphicFrameMkLst>
            <pc:docMk/>
            <pc:sldMk cId="3782203074" sldId="2147483078"/>
            <ac:graphicFrameMk id="339" creationId="{B70D8CEE-B1DA-6DE9-ADF2-05E0921E4A0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1:15.712" v="268133"/>
          <ac:graphicFrameMkLst>
            <pc:docMk/>
            <pc:sldMk cId="3782203074" sldId="2147483078"/>
            <ac:graphicFrameMk id="341" creationId="{2C689E70-ED62-454A-9581-0E9DDE0191F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1:16.041" v="268333"/>
          <ac:graphicFrameMkLst>
            <pc:docMk/>
            <pc:sldMk cId="3782203074" sldId="2147483078"/>
            <ac:graphicFrameMk id="351" creationId="{3F382715-F785-AF39-FAF8-39FE40E97EC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1:21.201" v="268461"/>
          <ac:graphicFrameMkLst>
            <pc:docMk/>
            <pc:sldMk cId="3782203074" sldId="2147483078"/>
            <ac:graphicFrameMk id="353" creationId="{B207F393-CEAB-DDC7-CFE8-804DECD8EC1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1:23.162" v="268667"/>
          <ac:graphicFrameMkLst>
            <pc:docMk/>
            <pc:sldMk cId="3782203074" sldId="2147483078"/>
            <ac:graphicFrameMk id="355" creationId="{591D1927-B148-93D9-5BFE-EF308184375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1:49.774" v="268753"/>
          <ac:graphicFrameMkLst>
            <pc:docMk/>
            <pc:sldMk cId="3782203074" sldId="2147483078"/>
            <ac:graphicFrameMk id="358" creationId="{A570DD70-ED3D-F6D3-103B-C1F0E14CA36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1:50.013" v="268880"/>
          <ac:graphicFrameMkLst>
            <pc:docMk/>
            <pc:sldMk cId="3782203074" sldId="2147483078"/>
            <ac:graphicFrameMk id="360" creationId="{3D72973D-37A6-9598-5295-623E3FBC9D7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1:53.493" v="268974"/>
          <ac:graphicFrameMkLst>
            <pc:docMk/>
            <pc:sldMk cId="3782203074" sldId="2147483078"/>
            <ac:graphicFrameMk id="362" creationId="{3AD47A3F-4C88-2AEC-0EBB-86E9C293C12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1:53.708" v="269098"/>
          <ac:graphicFrameMkLst>
            <pc:docMk/>
            <pc:sldMk cId="3782203074" sldId="2147483078"/>
            <ac:graphicFrameMk id="364" creationId="{28C1C36D-1130-C0DA-D32D-AAF592D623D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02.304" v="269185"/>
          <ac:graphicFrameMkLst>
            <pc:docMk/>
            <pc:sldMk cId="3782203074" sldId="2147483078"/>
            <ac:graphicFrameMk id="366" creationId="{588F9316-DA0E-D406-3D0F-651F3FF0227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02.857" v="269272"/>
          <ac:graphicFrameMkLst>
            <pc:docMk/>
            <pc:sldMk cId="3782203074" sldId="2147483078"/>
            <ac:graphicFrameMk id="368" creationId="{95D6124B-2F69-CAAC-329A-C05446EC658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08.178" v="269359"/>
          <ac:graphicFrameMkLst>
            <pc:docMk/>
            <pc:sldMk cId="3782203074" sldId="2147483078"/>
            <ac:graphicFrameMk id="370" creationId="{7110F8D0-89C3-160C-E18E-E1727205587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09.854" v="269459"/>
          <ac:graphicFrameMkLst>
            <pc:docMk/>
            <pc:sldMk cId="3782203074" sldId="2147483078"/>
            <ac:graphicFrameMk id="372" creationId="{5214E2DD-05A9-F333-BA40-590796E884C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16.908" v="269546"/>
          <ac:graphicFrameMkLst>
            <pc:docMk/>
            <pc:sldMk cId="3782203074" sldId="2147483078"/>
            <ac:graphicFrameMk id="374" creationId="{17B8385A-E88A-5F04-FFB0-96EC8FBFDFEB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17.464" v="269638" actId="478"/>
          <ac:graphicFrameMkLst>
            <pc:docMk/>
            <pc:sldMk cId="3782203074" sldId="2147483078"/>
            <ac:graphicFrameMk id="376" creationId="{51A8A015-18C5-C5C8-B344-0A12D53614E3}"/>
          </ac:graphicFrameMkLst>
        </pc:graphicFrameChg>
        <pc:graphicFrameChg chg="del mod ord">
          <ac:chgData name="Yiqun Dai" userId="360a2182-b97f-4635-b990-04f846616e33" providerId="ADAL" clId="{8F04EA49-0EFC-48F3-A4D8-E0F0D3B461A8}" dt="2025-11-09T03:22:23.526" v="269696"/>
          <ac:graphicFrameMkLst>
            <pc:docMk/>
            <pc:sldMk cId="3782203074" sldId="2147483078"/>
            <ac:graphicFrameMk id="378" creationId="{3A44DC3F-C5FA-F933-BD31-5D410F7DD9E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24.333" v="269798"/>
          <ac:graphicFrameMkLst>
            <pc:docMk/>
            <pc:sldMk cId="3782203074" sldId="2147483078"/>
            <ac:graphicFrameMk id="380" creationId="{0CAAA639-6D87-3263-42F4-6327891522B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32.202" v="269885"/>
          <ac:graphicFrameMkLst>
            <pc:docMk/>
            <pc:sldMk cId="3782203074" sldId="2147483078"/>
            <ac:graphicFrameMk id="382" creationId="{FDB43A68-8EC5-44A5-F41A-1B5B115035E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33.226" v="269986"/>
          <ac:graphicFrameMkLst>
            <pc:docMk/>
            <pc:sldMk cId="3782203074" sldId="2147483078"/>
            <ac:graphicFrameMk id="384" creationId="{D1FE1B1A-3C05-96ED-0C46-46358322AD3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36.311" v="270073"/>
          <ac:graphicFrameMkLst>
            <pc:docMk/>
            <pc:sldMk cId="3782203074" sldId="2147483078"/>
            <ac:graphicFrameMk id="386" creationId="{00C95C14-4CD0-9F00-64DB-466C88A0DBE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36.806" v="270179"/>
          <ac:graphicFrameMkLst>
            <pc:docMk/>
            <pc:sldMk cId="3782203074" sldId="2147483078"/>
            <ac:graphicFrameMk id="388" creationId="{95C66760-9FAC-E8D5-8F2D-512A311C652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40.747" v="270266"/>
          <ac:graphicFrameMkLst>
            <pc:docMk/>
            <pc:sldMk cId="3782203074" sldId="2147483078"/>
            <ac:graphicFrameMk id="390" creationId="{0EFF4363-8F86-4D0A-31C6-200C04E5917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41.092" v="270371"/>
          <ac:graphicFrameMkLst>
            <pc:docMk/>
            <pc:sldMk cId="3782203074" sldId="2147483078"/>
            <ac:graphicFrameMk id="392" creationId="{01C35E69-DB26-1857-46E9-2823B104081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50.781" v="270646"/>
          <ac:graphicFrameMkLst>
            <pc:docMk/>
            <pc:sldMk cId="3782203074" sldId="2147483078"/>
            <ac:graphicFrameMk id="394" creationId="{C48C8B9D-E010-CFD2-DC60-326B66DE332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51.146" v="270810"/>
          <ac:graphicFrameMkLst>
            <pc:docMk/>
            <pc:sldMk cId="3782203074" sldId="2147483078"/>
            <ac:graphicFrameMk id="399" creationId="{BC8B3205-5401-EE5D-0EF2-003B9D60171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2:59.433" v="270970"/>
          <ac:graphicFrameMkLst>
            <pc:docMk/>
            <pc:sldMk cId="3782203074" sldId="2147483078"/>
            <ac:graphicFrameMk id="402" creationId="{ED39BDB0-598D-F352-4A7A-4E1288270E8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3:02.897" v="271158"/>
          <ac:graphicFrameMkLst>
            <pc:docMk/>
            <pc:sldMk cId="3782203074" sldId="2147483078"/>
            <ac:graphicFrameMk id="405" creationId="{DE9E47B1-3A82-A570-2271-A2AF03D5B1E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3:05.477" v="271277"/>
          <ac:graphicFrameMkLst>
            <pc:docMk/>
            <pc:sldMk cId="3782203074" sldId="2147483078"/>
            <ac:graphicFrameMk id="409" creationId="{B55107E7-8E90-45D3-C118-067EF2B5CA6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3:06.993" v="271446"/>
          <ac:graphicFrameMkLst>
            <pc:docMk/>
            <pc:sldMk cId="3782203074" sldId="2147483078"/>
            <ac:graphicFrameMk id="411" creationId="{5A9AD110-FBC6-D872-A5AE-2AD5007C2CA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3:34.219" v="272364"/>
          <ac:graphicFrameMkLst>
            <pc:docMk/>
            <pc:sldMk cId="3782203074" sldId="2147483078"/>
            <ac:graphicFrameMk id="415" creationId="{DF72EEB7-F020-C391-8398-C72C852C3BE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3:35.213" v="272491" actId="478"/>
          <ac:graphicFrameMkLst>
            <pc:docMk/>
            <pc:sldMk cId="3782203074" sldId="2147483078"/>
            <ac:graphicFrameMk id="427" creationId="{281B80C1-3C16-07E8-6B4E-0D4CD99D0E5F}"/>
          </ac:graphicFrameMkLst>
        </pc:graphicFrameChg>
        <pc:graphicFrameChg chg="del mod ord">
          <ac:chgData name="Yiqun Dai" userId="360a2182-b97f-4635-b990-04f846616e33" providerId="ADAL" clId="{8F04EA49-0EFC-48F3-A4D8-E0F0D3B461A8}" dt="2025-11-09T03:23:40.124" v="272898"/>
          <ac:graphicFrameMkLst>
            <pc:docMk/>
            <pc:sldMk cId="3782203074" sldId="2147483078"/>
            <ac:graphicFrameMk id="430" creationId="{F908BADF-817A-4ADA-104C-F64B80C9663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3:41.547" v="273203"/>
          <ac:graphicFrameMkLst>
            <pc:docMk/>
            <pc:sldMk cId="3782203074" sldId="2147483078"/>
            <ac:graphicFrameMk id="432" creationId="{E8C540E6-DC25-5EDD-E4B9-87C155E1855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3:59.677" v="273673"/>
          <ac:graphicFrameMkLst>
            <pc:docMk/>
            <pc:sldMk cId="3782203074" sldId="2147483078"/>
            <ac:graphicFrameMk id="436" creationId="{399673B9-DEF0-C29E-3991-90E940D4EC3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4:00.974" v="273946"/>
          <ac:graphicFrameMkLst>
            <pc:docMk/>
            <pc:sldMk cId="3782203074" sldId="2147483078"/>
            <ac:graphicFrameMk id="441" creationId="{0D81A04D-90D7-AC61-96EC-6DCC5FD45D1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4:08.280" v="274307"/>
          <ac:graphicFrameMkLst>
            <pc:docMk/>
            <pc:sldMk cId="3782203074" sldId="2147483078"/>
            <ac:graphicFrameMk id="447" creationId="{B72A60CE-A737-7DD5-F721-212F0C285DD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4:09.529" v="274543"/>
          <ac:graphicFrameMkLst>
            <pc:docMk/>
            <pc:sldMk cId="3782203074" sldId="2147483078"/>
            <ac:graphicFrameMk id="449" creationId="{3AFA0439-59F3-DB71-3253-8BF9602828A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26.657" v="274671"/>
          <ac:graphicFrameMkLst>
            <pc:docMk/>
            <pc:sldMk cId="3782203074" sldId="2147483078"/>
            <ac:graphicFrameMk id="455" creationId="{BC4E4602-7789-2E91-87DD-B5EA8BD950D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27.002" v="274827"/>
          <ac:graphicFrameMkLst>
            <pc:docMk/>
            <pc:sldMk cId="3782203074" sldId="2147483078"/>
            <ac:graphicFrameMk id="457" creationId="{FCB8ED4E-23B2-26E6-B467-5C1BB74B595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38.075" v="275044"/>
          <ac:graphicFrameMkLst>
            <pc:docMk/>
            <pc:sldMk cId="3782203074" sldId="2147483078"/>
            <ac:graphicFrameMk id="463" creationId="{C59BCBDB-4180-EECD-6354-ABA722809D9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38.598" v="275213"/>
          <ac:graphicFrameMkLst>
            <pc:docMk/>
            <pc:sldMk cId="3782203074" sldId="2147483078"/>
            <ac:graphicFrameMk id="472" creationId="{C9A619AB-3528-BE3C-6491-4A140957B66B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40.859" v="275350"/>
          <ac:graphicFrameMkLst>
            <pc:docMk/>
            <pc:sldMk cId="3782203074" sldId="2147483078"/>
            <ac:graphicFrameMk id="478" creationId="{F40A4CCD-A841-F169-27FF-E5AEA7FAFD4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41.824" v="275515"/>
          <ac:graphicFrameMkLst>
            <pc:docMk/>
            <pc:sldMk cId="3782203074" sldId="2147483078"/>
            <ac:graphicFrameMk id="480" creationId="{5CC5B7A9-19DD-AE6C-8E21-A49CFF5CD1F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42.629" v="275654"/>
          <ac:graphicFrameMkLst>
            <pc:docMk/>
            <pc:sldMk cId="3782203074" sldId="2147483078"/>
            <ac:graphicFrameMk id="486" creationId="{6139DEEF-7AC0-2593-5039-71BEE5712F2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43.349" v="275813"/>
          <ac:graphicFrameMkLst>
            <pc:docMk/>
            <pc:sldMk cId="3782203074" sldId="2147483078"/>
            <ac:graphicFrameMk id="488" creationId="{4E416546-4C3F-C9FA-155F-AF34938883A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44.440" v="275934"/>
          <ac:graphicFrameMkLst>
            <pc:docMk/>
            <pc:sldMk cId="3782203074" sldId="2147483078"/>
            <ac:graphicFrameMk id="494" creationId="{9D84E483-9CFA-7105-5353-3B4549EF20C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45.320" v="276091"/>
          <ac:graphicFrameMkLst>
            <pc:docMk/>
            <pc:sldMk cId="3782203074" sldId="2147483078"/>
            <ac:graphicFrameMk id="496" creationId="{73613DBF-09EB-F028-4437-F4BCDB17F77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46.785" v="276210"/>
          <ac:graphicFrameMkLst>
            <pc:docMk/>
            <pc:sldMk cId="3782203074" sldId="2147483078"/>
            <ac:graphicFrameMk id="502" creationId="{5BD4CAB8-D3E7-3AB6-6866-5A066EBCE85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47.609" v="276365"/>
          <ac:graphicFrameMkLst>
            <pc:docMk/>
            <pc:sldMk cId="3782203074" sldId="2147483078"/>
            <ac:graphicFrameMk id="504" creationId="{6EFEA411-5E88-2315-2618-3011E3A4631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48.652" v="276485"/>
          <ac:graphicFrameMkLst>
            <pc:docMk/>
            <pc:sldMk cId="3782203074" sldId="2147483078"/>
            <ac:graphicFrameMk id="510" creationId="{BF5F8B95-1BE3-E724-3632-2BAB7241F33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50.922" v="276637"/>
          <ac:graphicFrameMkLst>
            <pc:docMk/>
            <pc:sldMk cId="3782203074" sldId="2147483078"/>
            <ac:graphicFrameMk id="512" creationId="{F1C47541-8E76-C07A-E729-6A20651C11D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55.240" v="276755"/>
          <ac:graphicFrameMkLst>
            <pc:docMk/>
            <pc:sldMk cId="3782203074" sldId="2147483078"/>
            <ac:graphicFrameMk id="518" creationId="{5A765088-C149-DE92-E430-C360A5E0A6C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5:55.926" v="276910"/>
          <ac:graphicFrameMkLst>
            <pc:docMk/>
            <pc:sldMk cId="3782203074" sldId="2147483078"/>
            <ac:graphicFrameMk id="520" creationId="{79C94117-35E1-9351-4AEA-6D202FDAE5F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6:00.401" v="277084"/>
          <ac:graphicFrameMkLst>
            <pc:docMk/>
            <pc:sldMk cId="3782203074" sldId="2147483078"/>
            <ac:graphicFrameMk id="526" creationId="{F2EE9304-CECC-7B76-B643-353AECEFB67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6:00.955" v="277246"/>
          <ac:graphicFrameMkLst>
            <pc:docMk/>
            <pc:sldMk cId="3782203074" sldId="2147483078"/>
            <ac:graphicFrameMk id="532" creationId="{806CC642-F22B-3F70-5AC4-9ECC6678DCE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6:02.763" v="277376"/>
          <ac:graphicFrameMkLst>
            <pc:docMk/>
            <pc:sldMk cId="3782203074" sldId="2147483078"/>
            <ac:graphicFrameMk id="538" creationId="{588137EC-2A29-D8C2-A48D-3A29B554989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6:03.270" v="277534"/>
          <ac:graphicFrameMkLst>
            <pc:docMk/>
            <pc:sldMk cId="3782203074" sldId="2147483078"/>
            <ac:graphicFrameMk id="540" creationId="{DA28C00E-12A4-F44A-5535-039E81B2954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6:04.591" v="277654"/>
          <ac:graphicFrameMkLst>
            <pc:docMk/>
            <pc:sldMk cId="3782203074" sldId="2147483078"/>
            <ac:graphicFrameMk id="546" creationId="{233325BA-CAB1-A608-BB0A-BA969D73FFB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3:26:05.310" v="277810"/>
          <ac:graphicFrameMkLst>
            <pc:docMk/>
            <pc:sldMk cId="3782203074" sldId="2147483078"/>
            <ac:graphicFrameMk id="548" creationId="{FDEA93E9-0937-4D75-512D-C345B29644C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3:45.606" v="278116"/>
          <ac:graphicFrameMkLst>
            <pc:docMk/>
            <pc:sldMk cId="3782203074" sldId="2147483078"/>
            <ac:graphicFrameMk id="554" creationId="{727A34C5-746F-6806-1ED3-4DF5CF657C5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3:46.015" v="278294"/>
          <ac:graphicFrameMkLst>
            <pc:docMk/>
            <pc:sldMk cId="3782203074" sldId="2147483078"/>
            <ac:graphicFrameMk id="559" creationId="{FF3D2127-235B-E3F2-1FAE-4D03F57FD44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3:48.652" v="278430"/>
          <ac:graphicFrameMkLst>
            <pc:docMk/>
            <pc:sldMk cId="3782203074" sldId="2147483078"/>
            <ac:graphicFrameMk id="565" creationId="{FDB472F3-BCFF-89A9-20D3-FC1C682C98F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3:48.983" v="278606"/>
          <ac:graphicFrameMkLst>
            <pc:docMk/>
            <pc:sldMk cId="3782203074" sldId="2147483078"/>
            <ac:graphicFrameMk id="567" creationId="{B8FDB957-8014-BBA9-5262-F865F0AF455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5:42.828" v="278899"/>
          <ac:graphicFrameMkLst>
            <pc:docMk/>
            <pc:sldMk cId="3782203074" sldId="2147483078"/>
            <ac:graphicFrameMk id="573" creationId="{40EE6CB9-3EE9-1E80-30FB-A3BBCE15AA9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5:42.987" v="279099"/>
          <ac:graphicFrameMkLst>
            <pc:docMk/>
            <pc:sldMk cId="3782203074" sldId="2147483078"/>
            <ac:graphicFrameMk id="578" creationId="{09D67437-C4C3-9519-A935-538F062733A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5:44.969" v="279291"/>
          <ac:graphicFrameMkLst>
            <pc:docMk/>
            <pc:sldMk cId="3782203074" sldId="2147483078"/>
            <ac:graphicFrameMk id="584" creationId="{1AAD64CA-96AA-D0A2-10CE-900A28924F4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5:45.158" v="279491"/>
          <ac:graphicFrameMkLst>
            <pc:docMk/>
            <pc:sldMk cId="3782203074" sldId="2147483078"/>
            <ac:graphicFrameMk id="586" creationId="{DFEFF118-7DA0-0AB1-CD45-A429BA8E1C2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7:05.867" v="279632"/>
          <ac:graphicFrameMkLst>
            <pc:docMk/>
            <pc:sldMk cId="3782203074" sldId="2147483078"/>
            <ac:graphicFrameMk id="592" creationId="{0869E488-D312-7441-56E2-BB91C23E426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7:06.159" v="279857"/>
          <ac:graphicFrameMkLst>
            <pc:docMk/>
            <pc:sldMk cId="3782203074" sldId="2147483078"/>
            <ac:graphicFrameMk id="594" creationId="{8458E042-8DCF-629A-9C62-5DC59372313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7:10.060" v="279980"/>
          <ac:graphicFrameMkLst>
            <pc:docMk/>
            <pc:sldMk cId="3782203074" sldId="2147483078"/>
            <ac:graphicFrameMk id="601" creationId="{5D41461F-17DD-DA81-010B-9FF0BC25806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4:27:10.914" v="280171"/>
          <ac:graphicFrameMkLst>
            <pc:docMk/>
            <pc:sldMk cId="3782203074" sldId="2147483078"/>
            <ac:graphicFrameMk id="603" creationId="{AD2D046B-96EE-E872-9E3E-A6C1219EA412}"/>
          </ac:graphicFrameMkLst>
        </pc:graphicFrameChg>
        <pc:graphicFrameChg chg="add mod ord">
          <ac:chgData name="Yiqun Dai" userId="360a2182-b97f-4635-b990-04f846616e33" providerId="ADAL" clId="{8F04EA49-0EFC-48F3-A4D8-E0F0D3B461A8}" dt="2025-11-09T04:27:10.944" v="280188"/>
          <ac:graphicFrameMkLst>
            <pc:docMk/>
            <pc:sldMk cId="3782203074" sldId="2147483078"/>
            <ac:graphicFrameMk id="610" creationId="{981F4461-F41E-3025-2835-FB147EC0FC3C}"/>
          </ac:graphicFrameMkLst>
        </pc:graphicFrameChg>
        <pc:cxnChg chg="add del mod ord">
          <ac:chgData name="Yiqun Dai" userId="360a2182-b97f-4635-b990-04f846616e33" providerId="ADAL" clId="{8F04EA49-0EFC-48F3-A4D8-E0F0D3B461A8}" dt="2025-11-09T03:19:02.577" v="267390"/>
          <ac:cxnSpMkLst>
            <pc:docMk/>
            <pc:sldMk cId="3782203074" sldId="2147483078"/>
            <ac:cxnSpMk id="277" creationId="{5207A332-4BB5-5058-0592-6B664D75BADE}"/>
          </ac:cxnSpMkLst>
        </pc:cxnChg>
        <pc:cxnChg chg="add del mod ord">
          <ac:chgData name="Yiqun Dai" userId="360a2182-b97f-4635-b990-04f846616e33" providerId="ADAL" clId="{8F04EA49-0EFC-48F3-A4D8-E0F0D3B461A8}" dt="2025-11-09T03:23:59.604" v="273615"/>
          <ac:cxnSpMkLst>
            <pc:docMk/>
            <pc:sldMk cId="3782203074" sldId="2147483078"/>
            <ac:cxnSpMk id="278" creationId="{E0CF45DD-693A-B120-B070-58C6C2C93C9D}"/>
          </ac:cxnSpMkLst>
        </pc:cxnChg>
        <pc:cxnChg chg="add del mod ord">
          <ac:chgData name="Yiqun Dai" userId="360a2182-b97f-4635-b990-04f846616e33" providerId="ADAL" clId="{8F04EA49-0EFC-48F3-A4D8-E0F0D3B461A8}" dt="2025-11-09T03:22:59.432" v="270968"/>
          <ac:cxnSpMkLst>
            <pc:docMk/>
            <pc:sldMk cId="3782203074" sldId="2147483078"/>
            <ac:cxnSpMk id="279" creationId="{DEF20ADA-07E0-8F2E-3048-FEF4B8AE8237}"/>
          </ac:cxnSpMkLst>
        </pc:cxnChg>
        <pc:cxnChg chg="add del mod ord">
          <ac:chgData name="Yiqun Dai" userId="360a2182-b97f-4635-b990-04f846616e33" providerId="ADAL" clId="{8F04EA49-0EFC-48F3-A4D8-E0F0D3B461A8}" dt="2025-11-09T03:19:02.670" v="267437"/>
          <ac:cxnSpMkLst>
            <pc:docMk/>
            <pc:sldMk cId="3782203074" sldId="2147483078"/>
            <ac:cxnSpMk id="280" creationId="{E663DFDF-DE83-1AAD-8683-707BFACC6746}"/>
          </ac:cxnSpMkLst>
        </pc:cxnChg>
        <pc:cxnChg chg="add del mod ord">
          <ac:chgData name="Yiqun Dai" userId="360a2182-b97f-4635-b990-04f846616e33" providerId="ADAL" clId="{8F04EA49-0EFC-48F3-A4D8-E0F0D3B461A8}" dt="2025-11-09T03:19:02.891" v="267551"/>
          <ac:cxnSpMkLst>
            <pc:docMk/>
            <pc:sldMk cId="3782203074" sldId="2147483078"/>
            <ac:cxnSpMk id="337" creationId="{94A1BA73-ABB1-3B4E-D42C-C5366A675C05}"/>
          </ac:cxnSpMkLst>
        </pc:cxnChg>
        <pc:cxnChg chg="add del mod ord">
          <ac:chgData name="Yiqun Dai" userId="360a2182-b97f-4635-b990-04f846616e33" providerId="ADAL" clId="{8F04EA49-0EFC-48F3-A4D8-E0F0D3B461A8}" dt="2025-11-09T03:21:15.994" v="268259"/>
          <ac:cxnSpMkLst>
            <pc:docMk/>
            <pc:sldMk cId="3782203074" sldId="2147483078"/>
            <ac:cxnSpMk id="338" creationId="{B6133303-9E9D-9553-2AA0-A90A1F3FB2A0}"/>
          </ac:cxnSpMkLst>
        </pc:cxnChg>
        <pc:cxnChg chg="add del mod ord">
          <ac:chgData name="Yiqun Dai" userId="360a2182-b97f-4635-b990-04f846616e33" providerId="ADAL" clId="{8F04EA49-0EFC-48F3-A4D8-E0F0D3B461A8}" dt="2025-11-09T03:21:15.994" v="268253"/>
          <ac:cxnSpMkLst>
            <pc:docMk/>
            <pc:sldMk cId="3782203074" sldId="2147483078"/>
            <ac:cxnSpMk id="346" creationId="{426A56FA-9D64-B0FF-149E-68F8BD48C699}"/>
          </ac:cxnSpMkLst>
        </pc:cxnChg>
        <pc:cxnChg chg="add del mod ord">
          <ac:chgData name="Yiqun Dai" userId="360a2182-b97f-4635-b990-04f846616e33" providerId="ADAL" clId="{8F04EA49-0EFC-48F3-A4D8-E0F0D3B461A8}" dt="2025-11-09T03:21:16.013" v="268272"/>
          <ac:cxnSpMkLst>
            <pc:docMk/>
            <pc:sldMk cId="3782203074" sldId="2147483078"/>
            <ac:cxnSpMk id="347" creationId="{3408288E-83E2-6218-6776-AFC38784EA4B}"/>
          </ac:cxnSpMkLst>
        </pc:cxnChg>
        <pc:cxnChg chg="add del mod ord">
          <ac:chgData name="Yiqun Dai" userId="360a2182-b97f-4635-b990-04f846616e33" providerId="ADAL" clId="{8F04EA49-0EFC-48F3-A4D8-E0F0D3B461A8}" dt="2025-11-09T03:21:16.041" v="268323"/>
          <ac:cxnSpMkLst>
            <pc:docMk/>
            <pc:sldMk cId="3782203074" sldId="2147483078"/>
            <ac:cxnSpMk id="348" creationId="{0217F797-B7DA-5666-8C21-8ECADA318F72}"/>
          </ac:cxnSpMkLst>
        </pc:cxnChg>
        <pc:cxnChg chg="add del mod ord">
          <ac:chgData name="Yiqun Dai" userId="360a2182-b97f-4635-b990-04f846616e33" providerId="ADAL" clId="{8F04EA49-0EFC-48F3-A4D8-E0F0D3B461A8}" dt="2025-11-09T03:21:16.041" v="268327"/>
          <ac:cxnSpMkLst>
            <pc:docMk/>
            <pc:sldMk cId="3782203074" sldId="2147483078"/>
            <ac:cxnSpMk id="349" creationId="{CD89C299-294B-1DB4-B098-4F9910017F05}"/>
          </ac:cxnSpMkLst>
        </pc:cxnChg>
        <pc:cxnChg chg="add del mod ord">
          <ac:chgData name="Yiqun Dai" userId="360a2182-b97f-4635-b990-04f846616e33" providerId="ADAL" clId="{8F04EA49-0EFC-48F3-A4D8-E0F0D3B461A8}" dt="2025-11-09T03:21:16.041" v="268331"/>
          <ac:cxnSpMkLst>
            <pc:docMk/>
            <pc:sldMk cId="3782203074" sldId="2147483078"/>
            <ac:cxnSpMk id="350" creationId="{E5F0545E-5905-6AB8-B19A-1AFEFE25E486}"/>
          </ac:cxnSpMkLst>
        </pc:cxnChg>
        <pc:cxnChg chg="add del mod ord">
          <ac:chgData name="Yiqun Dai" userId="360a2182-b97f-4635-b990-04f846616e33" providerId="ADAL" clId="{8F04EA49-0EFC-48F3-A4D8-E0F0D3B461A8}" dt="2025-11-09T03:23:59.569" v="273602"/>
          <ac:cxnSpMkLst>
            <pc:docMk/>
            <pc:sldMk cId="3782203074" sldId="2147483078"/>
            <ac:cxnSpMk id="357" creationId="{2F65D141-15E3-4DB4-B9ED-598D29AABAFA}"/>
          </ac:cxnSpMkLst>
        </pc:cxnChg>
        <pc:cxnChg chg="add del mod ord">
          <ac:chgData name="Yiqun Dai" userId="360a2182-b97f-4635-b990-04f846616e33" providerId="ADAL" clId="{8F04EA49-0EFC-48F3-A4D8-E0F0D3B461A8}" dt="2025-11-09T03:23:35.135" v="272474" actId="478"/>
          <ac:cxnSpMkLst>
            <pc:docMk/>
            <pc:sldMk cId="3782203074" sldId="2147483078"/>
            <ac:cxnSpMk id="401" creationId="{B1978FCF-D29A-10C7-67DD-C1CC03464F2B}"/>
          </ac:cxnSpMkLst>
        </pc:cxnChg>
        <pc:cxnChg chg="add del mod ord">
          <ac:chgData name="Yiqun Dai" userId="360a2182-b97f-4635-b990-04f846616e33" providerId="ADAL" clId="{8F04EA49-0EFC-48F3-A4D8-E0F0D3B461A8}" dt="2025-11-09T03:23:05.477" v="271275"/>
          <ac:cxnSpMkLst>
            <pc:docMk/>
            <pc:sldMk cId="3782203074" sldId="2147483078"/>
            <ac:cxnSpMk id="408" creationId="{E2F07785-7030-47E8-D80C-9D96489DC7C1}"/>
          </ac:cxnSpMkLst>
        </pc:cxnChg>
        <pc:cxnChg chg="add del mod ord">
          <ac:chgData name="Yiqun Dai" userId="360a2182-b97f-4635-b990-04f846616e33" providerId="ADAL" clId="{8F04EA49-0EFC-48F3-A4D8-E0F0D3B461A8}" dt="2025-11-09T03:23:34.140" v="272300"/>
          <ac:cxnSpMkLst>
            <pc:docMk/>
            <pc:sldMk cId="3782203074" sldId="2147483078"/>
            <ac:cxnSpMk id="414" creationId="{2E0DBB7B-A961-1AE1-8668-2A8C03E2CD48}"/>
          </ac:cxnSpMkLst>
        </pc:cxnChg>
        <pc:cxnChg chg="del mod ord">
          <ac:chgData name="Yiqun Dai" userId="360a2182-b97f-4635-b990-04f846616e33" providerId="ADAL" clId="{8F04EA49-0EFC-48F3-A4D8-E0F0D3B461A8}" dt="2025-11-09T03:23:40.072" v="272874"/>
          <ac:cxnSpMkLst>
            <pc:docMk/>
            <pc:sldMk cId="3782203074" sldId="2147483078"/>
            <ac:cxnSpMk id="429" creationId="{B3C2ADFF-C5C7-74E7-1C84-9ED2B5E1B283}"/>
          </ac:cxnSpMkLst>
        </pc:cxnChg>
        <pc:cxnChg chg="add del mod ord">
          <ac:chgData name="Yiqun Dai" userId="360a2182-b97f-4635-b990-04f846616e33" providerId="ADAL" clId="{8F04EA49-0EFC-48F3-A4D8-E0F0D3B461A8}" dt="2025-11-09T03:24:00.832" v="273840"/>
          <ac:cxnSpMkLst>
            <pc:docMk/>
            <pc:sldMk cId="3782203074" sldId="2147483078"/>
            <ac:cxnSpMk id="434" creationId="{9A1E40D9-851E-E8DE-F32F-6CCFF77997DA}"/>
          </ac:cxnSpMkLst>
        </pc:cxnChg>
        <pc:cxnChg chg="add del mod ord">
          <ac:chgData name="Yiqun Dai" userId="360a2182-b97f-4635-b990-04f846616e33" providerId="ADAL" clId="{8F04EA49-0EFC-48F3-A4D8-E0F0D3B461A8}" dt="2025-11-09T03:23:59.604" v="273619"/>
          <ac:cxnSpMkLst>
            <pc:docMk/>
            <pc:sldMk cId="3782203074" sldId="2147483078"/>
            <ac:cxnSpMk id="435" creationId="{615B8B43-0ED4-43E5-BA15-0353E71083BF}"/>
          </ac:cxnSpMkLst>
        </pc:cxnChg>
        <pc:cxnChg chg="add del mod ord">
          <ac:chgData name="Yiqun Dai" userId="360a2182-b97f-4635-b990-04f846616e33" providerId="ADAL" clId="{8F04EA49-0EFC-48F3-A4D8-E0F0D3B461A8}" dt="2025-11-09T03:24:00.974" v="273944"/>
          <ac:cxnSpMkLst>
            <pc:docMk/>
            <pc:sldMk cId="3782203074" sldId="2147483078"/>
            <ac:cxnSpMk id="438" creationId="{48091DBA-7C58-4B0E-7D5F-73844E043A76}"/>
          </ac:cxnSpMkLst>
        </pc:cxnChg>
        <pc:cxnChg chg="add del mod ord">
          <ac:chgData name="Yiqun Dai" userId="360a2182-b97f-4635-b990-04f846616e33" providerId="ADAL" clId="{8F04EA49-0EFC-48F3-A4D8-E0F0D3B461A8}" dt="2025-11-09T03:24:00.974" v="273942"/>
          <ac:cxnSpMkLst>
            <pc:docMk/>
            <pc:sldMk cId="3782203074" sldId="2147483078"/>
            <ac:cxnSpMk id="439" creationId="{8A98F7FE-EF42-FCB4-3DCC-3F0D6F505857}"/>
          </ac:cxnSpMkLst>
        </pc:cxnChg>
        <pc:cxnChg chg="add del mod ord">
          <ac:chgData name="Yiqun Dai" userId="360a2182-b97f-4635-b990-04f846616e33" providerId="ADAL" clId="{8F04EA49-0EFC-48F3-A4D8-E0F0D3B461A8}" dt="2025-11-09T03:24:00.974" v="273940"/>
          <ac:cxnSpMkLst>
            <pc:docMk/>
            <pc:sldMk cId="3782203074" sldId="2147483078"/>
            <ac:cxnSpMk id="440" creationId="{A8CDB724-CADC-DDB8-90E8-9421CF7D8E51}"/>
          </ac:cxnSpMkLst>
        </pc:cxnChg>
        <pc:cxnChg chg="add del mod ord">
          <ac:chgData name="Yiqun Dai" userId="360a2182-b97f-4635-b990-04f846616e33" providerId="ADAL" clId="{8F04EA49-0EFC-48F3-A4D8-E0F0D3B461A8}" dt="2025-11-09T03:24:08.155" v="274239"/>
          <ac:cxnSpMkLst>
            <pc:docMk/>
            <pc:sldMk cId="3782203074" sldId="2147483078"/>
            <ac:cxnSpMk id="443" creationId="{8FB7BC07-F1ED-F86D-ACB3-587E6B94DC44}"/>
          </ac:cxnSpMkLst>
        </pc:cxnChg>
        <pc:cxnChg chg="add del mod ord">
          <ac:chgData name="Yiqun Dai" userId="360a2182-b97f-4635-b990-04f846616e33" providerId="ADAL" clId="{8F04EA49-0EFC-48F3-A4D8-E0F0D3B461A8}" dt="2025-11-09T03:24:08.170" v="274253"/>
          <ac:cxnSpMkLst>
            <pc:docMk/>
            <pc:sldMk cId="3782203074" sldId="2147483078"/>
            <ac:cxnSpMk id="444" creationId="{E81896FA-80F3-1252-97C4-15C473FFA909}"/>
          </ac:cxnSpMkLst>
        </pc:cxnChg>
        <pc:cxnChg chg="add del mod ord">
          <ac:chgData name="Yiqun Dai" userId="360a2182-b97f-4635-b990-04f846616e33" providerId="ADAL" clId="{8F04EA49-0EFC-48F3-A4D8-E0F0D3B461A8}" dt="2025-11-09T03:24:08.203" v="274267"/>
          <ac:cxnSpMkLst>
            <pc:docMk/>
            <pc:sldMk cId="3782203074" sldId="2147483078"/>
            <ac:cxnSpMk id="445" creationId="{9DFF288C-E4AA-1B93-0C7D-FCADCB146AE7}"/>
          </ac:cxnSpMkLst>
        </pc:cxnChg>
        <pc:cxnChg chg="add del mod ord">
          <ac:chgData name="Yiqun Dai" userId="360a2182-b97f-4635-b990-04f846616e33" providerId="ADAL" clId="{8F04EA49-0EFC-48F3-A4D8-E0F0D3B461A8}" dt="2025-11-09T03:24:08.220" v="274275"/>
          <ac:cxnSpMkLst>
            <pc:docMk/>
            <pc:sldMk cId="3782203074" sldId="2147483078"/>
            <ac:cxnSpMk id="446" creationId="{877F75E5-4D5B-2AAC-BB1A-13754589B5B1}"/>
          </ac:cxnSpMkLst>
        </pc:cxnChg>
        <pc:cxnChg chg="add del mod ord">
          <ac:chgData name="Yiqun Dai" userId="360a2182-b97f-4635-b990-04f846616e33" providerId="ADAL" clId="{8F04EA49-0EFC-48F3-A4D8-E0F0D3B461A8}" dt="2025-11-09T03:25:26.623" v="274639"/>
          <ac:cxnSpMkLst>
            <pc:docMk/>
            <pc:sldMk cId="3782203074" sldId="2147483078"/>
            <ac:cxnSpMk id="451" creationId="{A6D0D9AC-7B30-D347-293D-5287C169BC46}"/>
          </ac:cxnSpMkLst>
        </pc:cxnChg>
        <pc:cxnChg chg="add del mod ord">
          <ac:chgData name="Yiqun Dai" userId="360a2182-b97f-4635-b990-04f846616e33" providerId="ADAL" clId="{8F04EA49-0EFC-48F3-A4D8-E0F0D3B461A8}" dt="2025-11-09T03:25:26.640" v="274651"/>
          <ac:cxnSpMkLst>
            <pc:docMk/>
            <pc:sldMk cId="3782203074" sldId="2147483078"/>
            <ac:cxnSpMk id="452" creationId="{6B148035-347B-D8A9-6D75-7A5F23459B10}"/>
          </ac:cxnSpMkLst>
        </pc:cxnChg>
        <pc:cxnChg chg="add del mod ord">
          <ac:chgData name="Yiqun Dai" userId="360a2182-b97f-4635-b990-04f846616e33" providerId="ADAL" clId="{8F04EA49-0EFC-48F3-A4D8-E0F0D3B461A8}" dt="2025-11-09T03:25:26.640" v="274653"/>
          <ac:cxnSpMkLst>
            <pc:docMk/>
            <pc:sldMk cId="3782203074" sldId="2147483078"/>
            <ac:cxnSpMk id="453" creationId="{964DAC59-8171-F327-412D-E00A763BB2EF}"/>
          </ac:cxnSpMkLst>
        </pc:cxnChg>
        <pc:cxnChg chg="add del mod ord">
          <ac:chgData name="Yiqun Dai" userId="360a2182-b97f-4635-b990-04f846616e33" providerId="ADAL" clId="{8F04EA49-0EFC-48F3-A4D8-E0F0D3B461A8}" dt="2025-11-09T03:25:26.640" v="274667"/>
          <ac:cxnSpMkLst>
            <pc:docMk/>
            <pc:sldMk cId="3782203074" sldId="2147483078"/>
            <ac:cxnSpMk id="454" creationId="{4374EE91-7B69-0082-20BD-811AC0827488}"/>
          </ac:cxnSpMkLst>
        </pc:cxnChg>
        <pc:cxnChg chg="add del mod ord">
          <ac:chgData name="Yiqun Dai" userId="360a2182-b97f-4635-b990-04f846616e33" providerId="ADAL" clId="{8F04EA49-0EFC-48F3-A4D8-E0F0D3B461A8}" dt="2025-11-09T03:25:37.980" v="274935"/>
          <ac:cxnSpMkLst>
            <pc:docMk/>
            <pc:sldMk cId="3782203074" sldId="2147483078"/>
            <ac:cxnSpMk id="459" creationId="{442D57C3-54D3-1DDC-3EF2-A6A638DE9DDF}"/>
          </ac:cxnSpMkLst>
        </pc:cxnChg>
        <pc:cxnChg chg="add del mod ord">
          <ac:chgData name="Yiqun Dai" userId="360a2182-b97f-4635-b990-04f846616e33" providerId="ADAL" clId="{8F04EA49-0EFC-48F3-A4D8-E0F0D3B461A8}" dt="2025-11-09T03:25:37.980" v="274940"/>
          <ac:cxnSpMkLst>
            <pc:docMk/>
            <pc:sldMk cId="3782203074" sldId="2147483078"/>
            <ac:cxnSpMk id="460" creationId="{EBA1BCEA-FA04-0A00-003B-59E7A09105E6}"/>
          </ac:cxnSpMkLst>
        </pc:cxnChg>
        <pc:cxnChg chg="add del mod ord">
          <ac:chgData name="Yiqun Dai" userId="360a2182-b97f-4635-b990-04f846616e33" providerId="ADAL" clId="{8F04EA49-0EFC-48F3-A4D8-E0F0D3B461A8}" dt="2025-11-09T03:25:37.980" v="274942"/>
          <ac:cxnSpMkLst>
            <pc:docMk/>
            <pc:sldMk cId="3782203074" sldId="2147483078"/>
            <ac:cxnSpMk id="461" creationId="{179C2A86-3719-F0B6-800C-722F25A395E0}"/>
          </ac:cxnSpMkLst>
        </pc:cxnChg>
        <pc:cxnChg chg="add del mod ord">
          <ac:chgData name="Yiqun Dai" userId="360a2182-b97f-4635-b990-04f846616e33" providerId="ADAL" clId="{8F04EA49-0EFC-48F3-A4D8-E0F0D3B461A8}" dt="2025-11-09T03:25:37.980" v="274944"/>
          <ac:cxnSpMkLst>
            <pc:docMk/>
            <pc:sldMk cId="3782203074" sldId="2147483078"/>
            <ac:cxnSpMk id="462" creationId="{F658972E-E065-A8DF-193D-6876E6610EAA}"/>
          </ac:cxnSpMkLst>
        </pc:cxnChg>
        <pc:cxnChg chg="add mod ord">
          <ac:chgData name="Yiqun Dai" userId="360a2182-b97f-4635-b990-04f846616e33" providerId="ADAL" clId="{8F04EA49-0EFC-48F3-A4D8-E0F0D3B461A8}" dt="2025-11-09T04:27:10.929" v="280180"/>
          <ac:cxnSpMkLst>
            <pc:docMk/>
            <pc:sldMk cId="3782203074" sldId="2147483078"/>
            <ac:cxnSpMk id="465" creationId="{7EF523CD-E21C-FAAD-5B43-E08707863EA9}"/>
          </ac:cxnSpMkLst>
        </pc:cxnChg>
        <pc:cxnChg chg="add del mod ord">
          <ac:chgData name="Yiqun Dai" userId="360a2182-b97f-4635-b990-04f846616e33" providerId="ADAL" clId="{8F04EA49-0EFC-48F3-A4D8-E0F0D3B461A8}" dt="2025-11-09T03:25:40.684" v="275294"/>
          <ac:cxnSpMkLst>
            <pc:docMk/>
            <pc:sldMk cId="3782203074" sldId="2147483078"/>
            <ac:cxnSpMk id="466" creationId="{02CE696B-F98D-63CB-2EC4-C1D70EFE1189}"/>
          </ac:cxnSpMkLst>
        </pc:cxnChg>
        <pc:cxnChg chg="add del mod ord">
          <ac:chgData name="Yiqun Dai" userId="360a2182-b97f-4635-b990-04f846616e33" providerId="ADAL" clId="{8F04EA49-0EFC-48F3-A4D8-E0F0D3B461A8}" dt="2025-11-09T03:25:42.467" v="275592"/>
          <ac:cxnSpMkLst>
            <pc:docMk/>
            <pc:sldMk cId="3782203074" sldId="2147483078"/>
            <ac:cxnSpMk id="467" creationId="{CD734542-9545-1477-72BB-376FF24E7133}"/>
          </ac:cxnSpMkLst>
        </pc:cxnChg>
        <pc:cxnChg chg="add del mod ord">
          <ac:chgData name="Yiqun Dai" userId="360a2182-b97f-4635-b990-04f846616e33" providerId="ADAL" clId="{8F04EA49-0EFC-48F3-A4D8-E0F0D3B461A8}" dt="2025-11-09T03:25:44.271" v="275884"/>
          <ac:cxnSpMkLst>
            <pc:docMk/>
            <pc:sldMk cId="3782203074" sldId="2147483078"/>
            <ac:cxnSpMk id="468" creationId="{5C4F0899-3140-F40B-F0BB-3007E747027D}"/>
          </ac:cxnSpMkLst>
        </pc:cxnChg>
        <pc:cxnChg chg="add del mod ord">
          <ac:chgData name="Yiqun Dai" userId="360a2182-b97f-4635-b990-04f846616e33" providerId="ADAL" clId="{8F04EA49-0EFC-48F3-A4D8-E0F0D3B461A8}" dt="2025-11-09T03:25:46.565" v="276160"/>
          <ac:cxnSpMkLst>
            <pc:docMk/>
            <pc:sldMk cId="3782203074" sldId="2147483078"/>
            <ac:cxnSpMk id="469" creationId="{7DFE2EE6-9AC5-C7DF-8AB8-2DF6E6526DDC}"/>
          </ac:cxnSpMkLst>
        </pc:cxnChg>
        <pc:cxnChg chg="add del mod ord">
          <ac:chgData name="Yiqun Dai" userId="360a2182-b97f-4635-b990-04f846616e33" providerId="ADAL" clId="{8F04EA49-0EFC-48F3-A4D8-E0F0D3B461A8}" dt="2025-11-09T03:25:48.461" v="276432"/>
          <ac:cxnSpMkLst>
            <pc:docMk/>
            <pc:sldMk cId="3782203074" sldId="2147483078"/>
            <ac:cxnSpMk id="470" creationId="{2B42666E-512E-28B3-679C-A53163B6099D}"/>
          </ac:cxnSpMkLst>
        </pc:cxnChg>
        <pc:cxnChg chg="add mod ord">
          <ac:chgData name="Yiqun Dai" userId="360a2182-b97f-4635-b990-04f846616e33" providerId="ADAL" clId="{8F04EA49-0EFC-48F3-A4D8-E0F0D3B461A8}" dt="2025-11-09T04:27:10.944" v="280182"/>
          <ac:cxnSpMkLst>
            <pc:docMk/>
            <pc:sldMk cId="3782203074" sldId="2147483078"/>
            <ac:cxnSpMk id="471" creationId="{1C276F67-F41B-7B92-73E6-D386EA641EC7}"/>
          </ac:cxnSpMkLst>
        </pc:cxnChg>
        <pc:cxnChg chg="add del mod ord">
          <ac:chgData name="Yiqun Dai" userId="360a2182-b97f-4635-b990-04f846616e33" providerId="ADAL" clId="{8F04EA49-0EFC-48F3-A4D8-E0F0D3B461A8}" dt="2025-11-09T03:25:40.834" v="275336"/>
          <ac:cxnSpMkLst>
            <pc:docMk/>
            <pc:sldMk cId="3782203074" sldId="2147483078"/>
            <ac:cxnSpMk id="474" creationId="{0D74CCE2-3B1C-9D88-E46C-F1FF3AFE24CC}"/>
          </ac:cxnSpMkLst>
        </pc:cxnChg>
        <pc:cxnChg chg="add del mod ord">
          <ac:chgData name="Yiqun Dai" userId="360a2182-b97f-4635-b990-04f846616e33" providerId="ADAL" clId="{8F04EA49-0EFC-48F3-A4D8-E0F0D3B461A8}" dt="2025-11-09T03:25:40.834" v="275338"/>
          <ac:cxnSpMkLst>
            <pc:docMk/>
            <pc:sldMk cId="3782203074" sldId="2147483078"/>
            <ac:cxnSpMk id="475" creationId="{E791198E-F4CD-58EB-78CC-774C8645CD57}"/>
          </ac:cxnSpMkLst>
        </pc:cxnChg>
        <pc:cxnChg chg="add del mod ord">
          <ac:chgData name="Yiqun Dai" userId="360a2182-b97f-4635-b990-04f846616e33" providerId="ADAL" clId="{8F04EA49-0EFC-48F3-A4D8-E0F0D3B461A8}" dt="2025-11-09T03:25:40.841" v="275340"/>
          <ac:cxnSpMkLst>
            <pc:docMk/>
            <pc:sldMk cId="3782203074" sldId="2147483078"/>
            <ac:cxnSpMk id="476" creationId="{5A526225-0D5C-1A39-7E21-E7D32A241234}"/>
          </ac:cxnSpMkLst>
        </pc:cxnChg>
        <pc:cxnChg chg="add del mod ord">
          <ac:chgData name="Yiqun Dai" userId="360a2182-b97f-4635-b990-04f846616e33" providerId="ADAL" clId="{8F04EA49-0EFC-48F3-A4D8-E0F0D3B461A8}" dt="2025-11-09T03:25:40.841" v="275345"/>
          <ac:cxnSpMkLst>
            <pc:docMk/>
            <pc:sldMk cId="3782203074" sldId="2147483078"/>
            <ac:cxnSpMk id="477" creationId="{CCB58253-E564-ACAC-58B1-DF01C10DB09B}"/>
          </ac:cxnSpMkLst>
        </pc:cxnChg>
        <pc:cxnChg chg="add del mod ord">
          <ac:chgData name="Yiqun Dai" userId="360a2182-b97f-4635-b990-04f846616e33" providerId="ADAL" clId="{8F04EA49-0EFC-48F3-A4D8-E0F0D3B461A8}" dt="2025-11-09T03:25:42.594" v="275634"/>
          <ac:cxnSpMkLst>
            <pc:docMk/>
            <pc:sldMk cId="3782203074" sldId="2147483078"/>
            <ac:cxnSpMk id="482" creationId="{B57C1482-674B-37B0-56A3-DD908FC77E00}"/>
          </ac:cxnSpMkLst>
        </pc:cxnChg>
        <pc:cxnChg chg="add del mod ord">
          <ac:chgData name="Yiqun Dai" userId="360a2182-b97f-4635-b990-04f846616e33" providerId="ADAL" clId="{8F04EA49-0EFC-48F3-A4D8-E0F0D3B461A8}" dt="2025-11-09T03:25:42.594" v="275636"/>
          <ac:cxnSpMkLst>
            <pc:docMk/>
            <pc:sldMk cId="3782203074" sldId="2147483078"/>
            <ac:cxnSpMk id="483" creationId="{4271761C-F33C-3DD1-AFF1-9674893F5E6E}"/>
          </ac:cxnSpMkLst>
        </pc:cxnChg>
        <pc:cxnChg chg="add del mod ord">
          <ac:chgData name="Yiqun Dai" userId="360a2182-b97f-4635-b990-04f846616e33" providerId="ADAL" clId="{8F04EA49-0EFC-48F3-A4D8-E0F0D3B461A8}" dt="2025-11-09T03:25:42.594" v="275638"/>
          <ac:cxnSpMkLst>
            <pc:docMk/>
            <pc:sldMk cId="3782203074" sldId="2147483078"/>
            <ac:cxnSpMk id="484" creationId="{824622F7-7E29-E839-C0D8-9E6B3948EEEB}"/>
          </ac:cxnSpMkLst>
        </pc:cxnChg>
        <pc:cxnChg chg="add del mod ord">
          <ac:chgData name="Yiqun Dai" userId="360a2182-b97f-4635-b990-04f846616e33" providerId="ADAL" clId="{8F04EA49-0EFC-48F3-A4D8-E0F0D3B461A8}" dt="2025-11-09T03:25:42.625" v="275652"/>
          <ac:cxnSpMkLst>
            <pc:docMk/>
            <pc:sldMk cId="3782203074" sldId="2147483078"/>
            <ac:cxnSpMk id="485" creationId="{106E58C5-95EF-785E-55EE-72D3A5E6BE7C}"/>
          </ac:cxnSpMkLst>
        </pc:cxnChg>
        <pc:cxnChg chg="add del mod ord">
          <ac:chgData name="Yiqun Dai" userId="360a2182-b97f-4635-b990-04f846616e33" providerId="ADAL" clId="{8F04EA49-0EFC-48F3-A4D8-E0F0D3B461A8}" dt="2025-11-09T03:25:44.426" v="275926"/>
          <ac:cxnSpMkLst>
            <pc:docMk/>
            <pc:sldMk cId="3782203074" sldId="2147483078"/>
            <ac:cxnSpMk id="490" creationId="{68A126D1-79BE-E0B4-AE0C-B8BAE09E4346}"/>
          </ac:cxnSpMkLst>
        </pc:cxnChg>
        <pc:cxnChg chg="add del mod ord">
          <ac:chgData name="Yiqun Dai" userId="360a2182-b97f-4635-b990-04f846616e33" providerId="ADAL" clId="{8F04EA49-0EFC-48F3-A4D8-E0F0D3B461A8}" dt="2025-11-09T03:25:44.426" v="275928"/>
          <ac:cxnSpMkLst>
            <pc:docMk/>
            <pc:sldMk cId="3782203074" sldId="2147483078"/>
            <ac:cxnSpMk id="491" creationId="{0C4FE29B-1001-37F8-5B60-61F249E62BC7}"/>
          </ac:cxnSpMkLst>
        </pc:cxnChg>
        <pc:cxnChg chg="add del mod ord">
          <ac:chgData name="Yiqun Dai" userId="360a2182-b97f-4635-b990-04f846616e33" providerId="ADAL" clId="{8F04EA49-0EFC-48F3-A4D8-E0F0D3B461A8}" dt="2025-11-09T03:25:44.426" v="275930"/>
          <ac:cxnSpMkLst>
            <pc:docMk/>
            <pc:sldMk cId="3782203074" sldId="2147483078"/>
            <ac:cxnSpMk id="492" creationId="{3E7F4948-73E6-C0AB-B217-A152AF85AFBF}"/>
          </ac:cxnSpMkLst>
        </pc:cxnChg>
        <pc:cxnChg chg="add del mod ord">
          <ac:chgData name="Yiqun Dai" userId="360a2182-b97f-4635-b990-04f846616e33" providerId="ADAL" clId="{8F04EA49-0EFC-48F3-A4D8-E0F0D3B461A8}" dt="2025-11-09T03:25:44.426" v="275932"/>
          <ac:cxnSpMkLst>
            <pc:docMk/>
            <pc:sldMk cId="3782203074" sldId="2147483078"/>
            <ac:cxnSpMk id="493" creationId="{F70A6BFB-B051-DF97-EF68-BB59DBE3B83E}"/>
          </ac:cxnSpMkLst>
        </pc:cxnChg>
        <pc:cxnChg chg="add del mod ord">
          <ac:chgData name="Yiqun Dai" userId="360a2182-b97f-4635-b990-04f846616e33" providerId="ADAL" clId="{8F04EA49-0EFC-48F3-A4D8-E0F0D3B461A8}" dt="2025-11-09T03:25:46.754" v="276202"/>
          <ac:cxnSpMkLst>
            <pc:docMk/>
            <pc:sldMk cId="3782203074" sldId="2147483078"/>
            <ac:cxnSpMk id="498" creationId="{BBBBFF6B-4F67-24D9-F64F-CAF63C261115}"/>
          </ac:cxnSpMkLst>
        </pc:cxnChg>
        <pc:cxnChg chg="add del mod ord">
          <ac:chgData name="Yiqun Dai" userId="360a2182-b97f-4635-b990-04f846616e33" providerId="ADAL" clId="{8F04EA49-0EFC-48F3-A4D8-E0F0D3B461A8}" dt="2025-11-09T03:25:46.754" v="276204"/>
          <ac:cxnSpMkLst>
            <pc:docMk/>
            <pc:sldMk cId="3782203074" sldId="2147483078"/>
            <ac:cxnSpMk id="499" creationId="{547ADFE6-9624-612A-8C53-F6151A874826}"/>
          </ac:cxnSpMkLst>
        </pc:cxnChg>
        <pc:cxnChg chg="add del mod ord">
          <ac:chgData name="Yiqun Dai" userId="360a2182-b97f-4635-b990-04f846616e33" providerId="ADAL" clId="{8F04EA49-0EFC-48F3-A4D8-E0F0D3B461A8}" dt="2025-11-09T03:25:46.769" v="276206"/>
          <ac:cxnSpMkLst>
            <pc:docMk/>
            <pc:sldMk cId="3782203074" sldId="2147483078"/>
            <ac:cxnSpMk id="500" creationId="{AFBF7FAD-B5F4-F30C-52C4-3AD34E250050}"/>
          </ac:cxnSpMkLst>
        </pc:cxnChg>
        <pc:cxnChg chg="add del mod ord">
          <ac:chgData name="Yiqun Dai" userId="360a2182-b97f-4635-b990-04f846616e33" providerId="ADAL" clId="{8F04EA49-0EFC-48F3-A4D8-E0F0D3B461A8}" dt="2025-11-09T03:25:46.779" v="276208"/>
          <ac:cxnSpMkLst>
            <pc:docMk/>
            <pc:sldMk cId="3782203074" sldId="2147483078"/>
            <ac:cxnSpMk id="501" creationId="{A14587F7-E9B2-2749-C2A8-0672236B52ED}"/>
          </ac:cxnSpMkLst>
        </pc:cxnChg>
        <pc:cxnChg chg="add del mod ord">
          <ac:chgData name="Yiqun Dai" userId="360a2182-b97f-4635-b990-04f846616e33" providerId="ADAL" clId="{8F04EA49-0EFC-48F3-A4D8-E0F0D3B461A8}" dt="2025-11-09T03:25:48.634" v="276474"/>
          <ac:cxnSpMkLst>
            <pc:docMk/>
            <pc:sldMk cId="3782203074" sldId="2147483078"/>
            <ac:cxnSpMk id="506" creationId="{62506D95-51B5-311C-0D5D-8EAD859C5371}"/>
          </ac:cxnSpMkLst>
        </pc:cxnChg>
        <pc:cxnChg chg="add del mod ord">
          <ac:chgData name="Yiqun Dai" userId="360a2182-b97f-4635-b990-04f846616e33" providerId="ADAL" clId="{8F04EA49-0EFC-48F3-A4D8-E0F0D3B461A8}" dt="2025-11-09T03:25:48.636" v="276476"/>
          <ac:cxnSpMkLst>
            <pc:docMk/>
            <pc:sldMk cId="3782203074" sldId="2147483078"/>
            <ac:cxnSpMk id="507" creationId="{BC53016A-E99E-452A-F63F-C9737A53D0AA}"/>
          </ac:cxnSpMkLst>
        </pc:cxnChg>
        <pc:cxnChg chg="add del mod ord">
          <ac:chgData name="Yiqun Dai" userId="360a2182-b97f-4635-b990-04f846616e33" providerId="ADAL" clId="{8F04EA49-0EFC-48F3-A4D8-E0F0D3B461A8}" dt="2025-11-09T03:25:48.640" v="276478"/>
          <ac:cxnSpMkLst>
            <pc:docMk/>
            <pc:sldMk cId="3782203074" sldId="2147483078"/>
            <ac:cxnSpMk id="508" creationId="{326D2F7C-2535-2F91-3367-4948C7C32875}"/>
          </ac:cxnSpMkLst>
        </pc:cxnChg>
        <pc:cxnChg chg="add del mod ord">
          <ac:chgData name="Yiqun Dai" userId="360a2182-b97f-4635-b990-04f846616e33" providerId="ADAL" clId="{8F04EA49-0EFC-48F3-A4D8-E0F0D3B461A8}" dt="2025-11-09T03:25:48.643" v="276483"/>
          <ac:cxnSpMkLst>
            <pc:docMk/>
            <pc:sldMk cId="3782203074" sldId="2147483078"/>
            <ac:cxnSpMk id="509" creationId="{61E1C22D-4892-93F1-926F-2E48F4B05FB7}"/>
          </ac:cxnSpMkLst>
        </pc:cxnChg>
        <pc:cxnChg chg="add del mod ord">
          <ac:chgData name="Yiqun Dai" userId="360a2182-b97f-4635-b990-04f846616e33" providerId="ADAL" clId="{8F04EA49-0EFC-48F3-A4D8-E0F0D3B461A8}" dt="2025-11-09T03:25:55.215" v="276743"/>
          <ac:cxnSpMkLst>
            <pc:docMk/>
            <pc:sldMk cId="3782203074" sldId="2147483078"/>
            <ac:cxnSpMk id="514" creationId="{35B82F1B-0473-A4E4-A911-647314DC80C2}"/>
          </ac:cxnSpMkLst>
        </pc:cxnChg>
        <pc:cxnChg chg="add del mod ord">
          <ac:chgData name="Yiqun Dai" userId="360a2182-b97f-4635-b990-04f846616e33" providerId="ADAL" clId="{8F04EA49-0EFC-48F3-A4D8-E0F0D3B461A8}" dt="2025-11-09T03:25:55.217" v="276747"/>
          <ac:cxnSpMkLst>
            <pc:docMk/>
            <pc:sldMk cId="3782203074" sldId="2147483078"/>
            <ac:cxnSpMk id="515" creationId="{80F775F1-8C71-7775-31D0-24B566AA6019}"/>
          </ac:cxnSpMkLst>
        </pc:cxnChg>
        <pc:cxnChg chg="add del mod ord">
          <ac:chgData name="Yiqun Dai" userId="360a2182-b97f-4635-b990-04f846616e33" providerId="ADAL" clId="{8F04EA49-0EFC-48F3-A4D8-E0F0D3B461A8}" dt="2025-11-09T03:25:55.217" v="276749"/>
          <ac:cxnSpMkLst>
            <pc:docMk/>
            <pc:sldMk cId="3782203074" sldId="2147483078"/>
            <ac:cxnSpMk id="516" creationId="{5258D902-DD12-2BF3-E1E4-C0A38BE23779}"/>
          </ac:cxnSpMkLst>
        </pc:cxnChg>
        <pc:cxnChg chg="add del mod ord">
          <ac:chgData name="Yiqun Dai" userId="360a2182-b97f-4635-b990-04f846616e33" providerId="ADAL" clId="{8F04EA49-0EFC-48F3-A4D8-E0F0D3B461A8}" dt="2025-11-09T03:25:55.217" v="276751"/>
          <ac:cxnSpMkLst>
            <pc:docMk/>
            <pc:sldMk cId="3782203074" sldId="2147483078"/>
            <ac:cxnSpMk id="517" creationId="{B655D4E4-699E-0293-660F-C084A278FC41}"/>
          </ac:cxnSpMkLst>
        </pc:cxnChg>
        <pc:cxnChg chg="add del mod ord">
          <ac:chgData name="Yiqun Dai" userId="360a2182-b97f-4635-b990-04f846616e33" providerId="ADAL" clId="{8F04EA49-0EFC-48F3-A4D8-E0F0D3B461A8}" dt="2025-11-09T03:26:00.323" v="277017"/>
          <ac:cxnSpMkLst>
            <pc:docMk/>
            <pc:sldMk cId="3782203074" sldId="2147483078"/>
            <ac:cxnSpMk id="522" creationId="{3E36A2CD-5216-4BF9-CC4A-685E45F256DB}"/>
          </ac:cxnSpMkLst>
        </pc:cxnChg>
        <pc:cxnChg chg="add del mod ord">
          <ac:chgData name="Yiqun Dai" userId="360a2182-b97f-4635-b990-04f846616e33" providerId="ADAL" clId="{8F04EA49-0EFC-48F3-A4D8-E0F0D3B461A8}" dt="2025-11-09T03:26:00.323" v="277019"/>
          <ac:cxnSpMkLst>
            <pc:docMk/>
            <pc:sldMk cId="3782203074" sldId="2147483078"/>
            <ac:cxnSpMk id="523" creationId="{CA391B23-D868-99BA-5FA2-C29572B222D9}"/>
          </ac:cxnSpMkLst>
        </pc:cxnChg>
        <pc:cxnChg chg="add del mod ord">
          <ac:chgData name="Yiqun Dai" userId="360a2182-b97f-4635-b990-04f846616e33" providerId="ADAL" clId="{8F04EA49-0EFC-48F3-A4D8-E0F0D3B461A8}" dt="2025-11-09T03:26:00.338" v="277021"/>
          <ac:cxnSpMkLst>
            <pc:docMk/>
            <pc:sldMk cId="3782203074" sldId="2147483078"/>
            <ac:cxnSpMk id="524" creationId="{5904A883-3C97-89EC-75D6-E5212DE5553A}"/>
          </ac:cxnSpMkLst>
        </pc:cxnChg>
        <pc:cxnChg chg="add del mod ord">
          <ac:chgData name="Yiqun Dai" userId="360a2182-b97f-4635-b990-04f846616e33" providerId="ADAL" clId="{8F04EA49-0EFC-48F3-A4D8-E0F0D3B461A8}" dt="2025-11-09T03:26:00.339" v="277023"/>
          <ac:cxnSpMkLst>
            <pc:docMk/>
            <pc:sldMk cId="3782203074" sldId="2147483078"/>
            <ac:cxnSpMk id="525" creationId="{51D1C61B-1485-B854-63C0-87AA391E0119}"/>
          </ac:cxnSpMkLst>
        </pc:cxnChg>
        <pc:cxnChg chg="add del mod ord">
          <ac:chgData name="Yiqun Dai" userId="360a2182-b97f-4635-b990-04f846616e33" providerId="ADAL" clId="{8F04EA49-0EFC-48F3-A4D8-E0F0D3B461A8}" dt="2025-11-09T03:26:04.440" v="277604"/>
          <ac:cxnSpMkLst>
            <pc:docMk/>
            <pc:sldMk cId="3782203074" sldId="2147483078"/>
            <ac:cxnSpMk id="528" creationId="{E2E9DD66-4E1C-7E04-58C3-986C61E45E0E}"/>
          </ac:cxnSpMkLst>
        </pc:cxnChg>
        <pc:cxnChg chg="add del mod ord">
          <ac:chgData name="Yiqun Dai" userId="360a2182-b97f-4635-b990-04f846616e33" providerId="ADAL" clId="{8F04EA49-0EFC-48F3-A4D8-E0F0D3B461A8}" dt="2025-11-09T03:26:02.655" v="277320"/>
          <ac:cxnSpMkLst>
            <pc:docMk/>
            <pc:sldMk cId="3782203074" sldId="2147483078"/>
            <ac:cxnSpMk id="529" creationId="{4F11FC24-6786-834B-696B-C8199A1E69FC}"/>
          </ac:cxnSpMkLst>
        </pc:cxnChg>
        <pc:cxnChg chg="add mod ord">
          <ac:chgData name="Yiqun Dai" userId="360a2182-b97f-4635-b990-04f846616e33" providerId="ADAL" clId="{8F04EA49-0EFC-48F3-A4D8-E0F0D3B461A8}" dt="2025-11-09T04:27:10.944" v="280184"/>
          <ac:cxnSpMkLst>
            <pc:docMk/>
            <pc:sldMk cId="3782203074" sldId="2147483078"/>
            <ac:cxnSpMk id="530" creationId="{C29C918B-6808-5F67-A303-F181759D99B1}"/>
          </ac:cxnSpMkLst>
        </pc:cxnChg>
        <pc:cxnChg chg="add mod ord">
          <ac:chgData name="Yiqun Dai" userId="360a2182-b97f-4635-b990-04f846616e33" providerId="ADAL" clId="{8F04EA49-0EFC-48F3-A4D8-E0F0D3B461A8}" dt="2025-11-09T04:27:10.944" v="280186"/>
          <ac:cxnSpMkLst>
            <pc:docMk/>
            <pc:sldMk cId="3782203074" sldId="2147483078"/>
            <ac:cxnSpMk id="531" creationId="{17AFF1CF-EAF7-C1F8-E9A5-F96D165B9F23}"/>
          </ac:cxnSpMkLst>
        </pc:cxnChg>
        <pc:cxnChg chg="add del mod ord">
          <ac:chgData name="Yiqun Dai" userId="360a2182-b97f-4635-b990-04f846616e33" providerId="ADAL" clId="{8F04EA49-0EFC-48F3-A4D8-E0F0D3B461A8}" dt="2025-11-09T03:26:02.754" v="277365"/>
          <ac:cxnSpMkLst>
            <pc:docMk/>
            <pc:sldMk cId="3782203074" sldId="2147483078"/>
            <ac:cxnSpMk id="534" creationId="{CB6D3909-7A8B-9DEA-CA5B-49DD99823CA3}"/>
          </ac:cxnSpMkLst>
        </pc:cxnChg>
        <pc:cxnChg chg="add del mod ord">
          <ac:chgData name="Yiqun Dai" userId="360a2182-b97f-4635-b990-04f846616e33" providerId="ADAL" clId="{8F04EA49-0EFC-48F3-A4D8-E0F0D3B461A8}" dt="2025-11-09T03:26:02.763" v="277370"/>
          <ac:cxnSpMkLst>
            <pc:docMk/>
            <pc:sldMk cId="3782203074" sldId="2147483078"/>
            <ac:cxnSpMk id="535" creationId="{8E28FC60-5C58-F6A8-CCE2-D51C60CC0233}"/>
          </ac:cxnSpMkLst>
        </pc:cxnChg>
        <pc:cxnChg chg="add del mod ord">
          <ac:chgData name="Yiqun Dai" userId="360a2182-b97f-4635-b990-04f846616e33" providerId="ADAL" clId="{8F04EA49-0EFC-48F3-A4D8-E0F0D3B461A8}" dt="2025-11-09T03:26:02.763" v="277372"/>
          <ac:cxnSpMkLst>
            <pc:docMk/>
            <pc:sldMk cId="3782203074" sldId="2147483078"/>
            <ac:cxnSpMk id="536" creationId="{ED286927-C58F-ECDA-5A6C-5588227BD4F8}"/>
          </ac:cxnSpMkLst>
        </pc:cxnChg>
        <pc:cxnChg chg="add del mod ord">
          <ac:chgData name="Yiqun Dai" userId="360a2182-b97f-4635-b990-04f846616e33" providerId="ADAL" clId="{8F04EA49-0EFC-48F3-A4D8-E0F0D3B461A8}" dt="2025-11-09T03:26:02.763" v="277374"/>
          <ac:cxnSpMkLst>
            <pc:docMk/>
            <pc:sldMk cId="3782203074" sldId="2147483078"/>
            <ac:cxnSpMk id="537" creationId="{84326DFD-546A-D262-D67A-28968412392C}"/>
          </ac:cxnSpMkLst>
        </pc:cxnChg>
        <pc:cxnChg chg="add del mod ord">
          <ac:chgData name="Yiqun Dai" userId="360a2182-b97f-4635-b990-04f846616e33" providerId="ADAL" clId="{8F04EA49-0EFC-48F3-A4D8-E0F0D3B461A8}" dt="2025-11-09T03:26:04.583" v="277646"/>
          <ac:cxnSpMkLst>
            <pc:docMk/>
            <pc:sldMk cId="3782203074" sldId="2147483078"/>
            <ac:cxnSpMk id="542" creationId="{641AA1BF-D0AD-C1AB-CD35-77E63BD83CC7}"/>
          </ac:cxnSpMkLst>
        </pc:cxnChg>
        <pc:cxnChg chg="add del mod ord">
          <ac:chgData name="Yiqun Dai" userId="360a2182-b97f-4635-b990-04f846616e33" providerId="ADAL" clId="{8F04EA49-0EFC-48F3-A4D8-E0F0D3B461A8}" dt="2025-11-09T03:26:04.583" v="277648"/>
          <ac:cxnSpMkLst>
            <pc:docMk/>
            <pc:sldMk cId="3782203074" sldId="2147483078"/>
            <ac:cxnSpMk id="543" creationId="{A3B3AEFF-8A65-A284-5D49-BBD1886ABC68}"/>
          </ac:cxnSpMkLst>
        </pc:cxnChg>
        <pc:cxnChg chg="add del mod ord">
          <ac:chgData name="Yiqun Dai" userId="360a2182-b97f-4635-b990-04f846616e33" providerId="ADAL" clId="{8F04EA49-0EFC-48F3-A4D8-E0F0D3B461A8}" dt="2025-11-09T03:26:04.591" v="277650"/>
          <ac:cxnSpMkLst>
            <pc:docMk/>
            <pc:sldMk cId="3782203074" sldId="2147483078"/>
            <ac:cxnSpMk id="544" creationId="{6E134BB9-1A97-E672-2808-FE42FCE59522}"/>
          </ac:cxnSpMkLst>
        </pc:cxnChg>
        <pc:cxnChg chg="add del mod ord">
          <ac:chgData name="Yiqun Dai" userId="360a2182-b97f-4635-b990-04f846616e33" providerId="ADAL" clId="{8F04EA49-0EFC-48F3-A4D8-E0F0D3B461A8}" dt="2025-11-09T03:26:04.591" v="277652"/>
          <ac:cxnSpMkLst>
            <pc:docMk/>
            <pc:sldMk cId="3782203074" sldId="2147483078"/>
            <ac:cxnSpMk id="545" creationId="{C28A0C9B-0063-7C9E-008C-20CCDC0041A4}"/>
          </ac:cxnSpMkLst>
        </pc:cxnChg>
        <pc:cxnChg chg="add del mod ord">
          <ac:chgData name="Yiqun Dai" userId="360a2182-b97f-4635-b990-04f846616e33" providerId="ADAL" clId="{8F04EA49-0EFC-48F3-A4D8-E0F0D3B461A8}" dt="2025-11-09T04:23:45.576" v="278108"/>
          <ac:cxnSpMkLst>
            <pc:docMk/>
            <pc:sldMk cId="3782203074" sldId="2147483078"/>
            <ac:cxnSpMk id="550" creationId="{29DE9164-CC82-83C4-E735-D65A8CDD43A6}"/>
          </ac:cxnSpMkLst>
        </pc:cxnChg>
        <pc:cxnChg chg="add del mod ord">
          <ac:chgData name="Yiqun Dai" userId="360a2182-b97f-4635-b990-04f846616e33" providerId="ADAL" clId="{8F04EA49-0EFC-48F3-A4D8-E0F0D3B461A8}" dt="2025-11-09T04:23:45.576" v="278110"/>
          <ac:cxnSpMkLst>
            <pc:docMk/>
            <pc:sldMk cId="3782203074" sldId="2147483078"/>
            <ac:cxnSpMk id="551" creationId="{EB9FAB94-C31B-0019-902B-16AD521FB8E1}"/>
          </ac:cxnSpMkLst>
        </pc:cxnChg>
        <pc:cxnChg chg="add del mod ord">
          <ac:chgData name="Yiqun Dai" userId="360a2182-b97f-4635-b990-04f846616e33" providerId="ADAL" clId="{8F04EA49-0EFC-48F3-A4D8-E0F0D3B461A8}" dt="2025-11-09T04:23:45.590" v="278112"/>
          <ac:cxnSpMkLst>
            <pc:docMk/>
            <pc:sldMk cId="3782203074" sldId="2147483078"/>
            <ac:cxnSpMk id="552" creationId="{0742D8A4-EADF-B546-1E13-8A67485696A4}"/>
          </ac:cxnSpMkLst>
        </pc:cxnChg>
        <pc:cxnChg chg="add del mod ord">
          <ac:chgData name="Yiqun Dai" userId="360a2182-b97f-4635-b990-04f846616e33" providerId="ADAL" clId="{8F04EA49-0EFC-48F3-A4D8-E0F0D3B461A8}" dt="2025-11-09T04:23:45.603" v="278114"/>
          <ac:cxnSpMkLst>
            <pc:docMk/>
            <pc:sldMk cId="3782203074" sldId="2147483078"/>
            <ac:cxnSpMk id="553" creationId="{7AEF70BB-69E6-7BD0-F8D7-08F92A5A3459}"/>
          </ac:cxnSpMkLst>
        </pc:cxnChg>
        <pc:cxnChg chg="add del mod ord">
          <ac:chgData name="Yiqun Dai" userId="360a2182-b97f-4635-b990-04f846616e33" providerId="ADAL" clId="{8F04EA49-0EFC-48F3-A4D8-E0F0D3B461A8}" dt="2025-11-09T04:23:48.652" v="278422"/>
          <ac:cxnSpMkLst>
            <pc:docMk/>
            <pc:sldMk cId="3782203074" sldId="2147483078"/>
            <ac:cxnSpMk id="561" creationId="{2021BA79-AFBC-E29F-5116-514DF4907EDA}"/>
          </ac:cxnSpMkLst>
        </pc:cxnChg>
        <pc:cxnChg chg="add del mod ord">
          <ac:chgData name="Yiqun Dai" userId="360a2182-b97f-4635-b990-04f846616e33" providerId="ADAL" clId="{8F04EA49-0EFC-48F3-A4D8-E0F0D3B461A8}" dt="2025-11-09T04:23:48.652" v="278424"/>
          <ac:cxnSpMkLst>
            <pc:docMk/>
            <pc:sldMk cId="3782203074" sldId="2147483078"/>
            <ac:cxnSpMk id="562" creationId="{564CC604-4A3F-2FB9-8C9D-02384D9CD996}"/>
          </ac:cxnSpMkLst>
        </pc:cxnChg>
        <pc:cxnChg chg="add del mod ord">
          <ac:chgData name="Yiqun Dai" userId="360a2182-b97f-4635-b990-04f846616e33" providerId="ADAL" clId="{8F04EA49-0EFC-48F3-A4D8-E0F0D3B461A8}" dt="2025-11-09T04:23:48.652" v="278426"/>
          <ac:cxnSpMkLst>
            <pc:docMk/>
            <pc:sldMk cId="3782203074" sldId="2147483078"/>
            <ac:cxnSpMk id="563" creationId="{B310C0E9-4A13-7DBB-B429-192810301561}"/>
          </ac:cxnSpMkLst>
        </pc:cxnChg>
        <pc:cxnChg chg="add del mod ord">
          <ac:chgData name="Yiqun Dai" userId="360a2182-b97f-4635-b990-04f846616e33" providerId="ADAL" clId="{8F04EA49-0EFC-48F3-A4D8-E0F0D3B461A8}" dt="2025-11-09T04:23:48.652" v="278428"/>
          <ac:cxnSpMkLst>
            <pc:docMk/>
            <pc:sldMk cId="3782203074" sldId="2147483078"/>
            <ac:cxnSpMk id="564" creationId="{079765EF-6635-11D8-7512-F042026FDC4E}"/>
          </ac:cxnSpMkLst>
        </pc:cxnChg>
        <pc:cxnChg chg="add del mod ord">
          <ac:chgData name="Yiqun Dai" userId="360a2182-b97f-4635-b990-04f846616e33" providerId="ADAL" clId="{8F04EA49-0EFC-48F3-A4D8-E0F0D3B461A8}" dt="2025-11-09T04:25:42.782" v="278829"/>
          <ac:cxnSpMkLst>
            <pc:docMk/>
            <pc:sldMk cId="3782203074" sldId="2147483078"/>
            <ac:cxnSpMk id="569" creationId="{80CDF5D2-F564-634F-B135-EAD79ED71021}"/>
          </ac:cxnSpMkLst>
        </pc:cxnChg>
        <pc:cxnChg chg="add del mod ord">
          <ac:chgData name="Yiqun Dai" userId="360a2182-b97f-4635-b990-04f846616e33" providerId="ADAL" clId="{8F04EA49-0EFC-48F3-A4D8-E0F0D3B461A8}" dt="2025-11-09T04:25:42.799" v="278855"/>
          <ac:cxnSpMkLst>
            <pc:docMk/>
            <pc:sldMk cId="3782203074" sldId="2147483078"/>
            <ac:cxnSpMk id="570" creationId="{56B662E2-4511-0455-959D-65C57FD3A82C}"/>
          </ac:cxnSpMkLst>
        </pc:cxnChg>
        <pc:cxnChg chg="add del mod ord">
          <ac:chgData name="Yiqun Dai" userId="360a2182-b97f-4635-b990-04f846616e33" providerId="ADAL" clId="{8F04EA49-0EFC-48F3-A4D8-E0F0D3B461A8}" dt="2025-11-09T04:25:42.799" v="278861"/>
          <ac:cxnSpMkLst>
            <pc:docMk/>
            <pc:sldMk cId="3782203074" sldId="2147483078"/>
            <ac:cxnSpMk id="571" creationId="{7057562A-EA71-4966-5DC2-99AE4A273285}"/>
          </ac:cxnSpMkLst>
        </pc:cxnChg>
        <pc:cxnChg chg="add del mod ord">
          <ac:chgData name="Yiqun Dai" userId="360a2182-b97f-4635-b990-04f846616e33" providerId="ADAL" clId="{8F04EA49-0EFC-48F3-A4D8-E0F0D3B461A8}" dt="2025-11-09T04:25:42.813" v="278879"/>
          <ac:cxnSpMkLst>
            <pc:docMk/>
            <pc:sldMk cId="3782203074" sldId="2147483078"/>
            <ac:cxnSpMk id="572" creationId="{53D70011-CA2E-A099-14FB-478FE2652D74}"/>
          </ac:cxnSpMkLst>
        </pc:cxnChg>
        <pc:cxnChg chg="add del mod ord">
          <ac:chgData name="Yiqun Dai" userId="360a2182-b97f-4635-b990-04f846616e33" providerId="ADAL" clId="{8F04EA49-0EFC-48F3-A4D8-E0F0D3B461A8}" dt="2025-11-09T04:25:44.922" v="279221"/>
          <ac:cxnSpMkLst>
            <pc:docMk/>
            <pc:sldMk cId="3782203074" sldId="2147483078"/>
            <ac:cxnSpMk id="580" creationId="{F0F21594-DDB3-13DB-5850-0F7DA5EAD009}"/>
          </ac:cxnSpMkLst>
        </pc:cxnChg>
        <pc:cxnChg chg="add del mod ord">
          <ac:chgData name="Yiqun Dai" userId="360a2182-b97f-4635-b990-04f846616e33" providerId="ADAL" clId="{8F04EA49-0EFC-48F3-A4D8-E0F0D3B461A8}" dt="2025-11-09T04:25:44.945" v="279247"/>
          <ac:cxnSpMkLst>
            <pc:docMk/>
            <pc:sldMk cId="3782203074" sldId="2147483078"/>
            <ac:cxnSpMk id="581" creationId="{19A9E69A-6F54-E7A4-E443-FDA3509CC3FE}"/>
          </ac:cxnSpMkLst>
        </pc:cxnChg>
        <pc:cxnChg chg="add del mod ord">
          <ac:chgData name="Yiqun Dai" userId="360a2182-b97f-4635-b990-04f846616e33" providerId="ADAL" clId="{8F04EA49-0EFC-48F3-A4D8-E0F0D3B461A8}" dt="2025-11-09T04:25:44.945" v="279253"/>
          <ac:cxnSpMkLst>
            <pc:docMk/>
            <pc:sldMk cId="3782203074" sldId="2147483078"/>
            <ac:cxnSpMk id="582" creationId="{62E92E9E-9505-4B4C-24DA-152E9E0DA123}"/>
          </ac:cxnSpMkLst>
        </pc:cxnChg>
        <pc:cxnChg chg="add del mod ord">
          <ac:chgData name="Yiqun Dai" userId="360a2182-b97f-4635-b990-04f846616e33" providerId="ADAL" clId="{8F04EA49-0EFC-48F3-A4D8-E0F0D3B461A8}" dt="2025-11-09T04:25:44.959" v="279271"/>
          <ac:cxnSpMkLst>
            <pc:docMk/>
            <pc:sldMk cId="3782203074" sldId="2147483078"/>
            <ac:cxnSpMk id="583" creationId="{33844FA4-0603-CF1D-D19C-4B342F3AAD96}"/>
          </ac:cxnSpMkLst>
        </pc:cxnChg>
        <pc:cxnChg chg="add del mod ord">
          <ac:chgData name="Yiqun Dai" userId="360a2182-b97f-4635-b990-04f846616e33" providerId="ADAL" clId="{8F04EA49-0EFC-48F3-A4D8-E0F0D3B461A8}" dt="2025-11-09T04:27:05.848" v="279624"/>
          <ac:cxnSpMkLst>
            <pc:docMk/>
            <pc:sldMk cId="3782203074" sldId="2147483078"/>
            <ac:cxnSpMk id="588" creationId="{A2A96187-46F6-A4FC-57D0-FB384FFDD44D}"/>
          </ac:cxnSpMkLst>
        </pc:cxnChg>
        <pc:cxnChg chg="add del mod ord">
          <ac:chgData name="Yiqun Dai" userId="360a2182-b97f-4635-b990-04f846616e33" providerId="ADAL" clId="{8F04EA49-0EFC-48F3-A4D8-E0F0D3B461A8}" dt="2025-11-09T04:27:05.864" v="279626"/>
          <ac:cxnSpMkLst>
            <pc:docMk/>
            <pc:sldMk cId="3782203074" sldId="2147483078"/>
            <ac:cxnSpMk id="589" creationId="{6F24E024-7544-BB2C-0532-44ABFAC9DF9D}"/>
          </ac:cxnSpMkLst>
        </pc:cxnChg>
        <pc:cxnChg chg="add del mod ord">
          <ac:chgData name="Yiqun Dai" userId="360a2182-b97f-4635-b990-04f846616e33" providerId="ADAL" clId="{8F04EA49-0EFC-48F3-A4D8-E0F0D3B461A8}" dt="2025-11-09T04:27:05.864" v="279628"/>
          <ac:cxnSpMkLst>
            <pc:docMk/>
            <pc:sldMk cId="3782203074" sldId="2147483078"/>
            <ac:cxnSpMk id="590" creationId="{7F5A2342-981D-AA40-C076-581C64EBF065}"/>
          </ac:cxnSpMkLst>
        </pc:cxnChg>
        <pc:cxnChg chg="add del mod ord">
          <ac:chgData name="Yiqun Dai" userId="360a2182-b97f-4635-b990-04f846616e33" providerId="ADAL" clId="{8F04EA49-0EFC-48F3-A4D8-E0F0D3B461A8}" dt="2025-11-09T04:27:05.867" v="279630"/>
          <ac:cxnSpMkLst>
            <pc:docMk/>
            <pc:sldMk cId="3782203074" sldId="2147483078"/>
            <ac:cxnSpMk id="591" creationId="{5225D039-476F-79F0-6684-9B639DE166C4}"/>
          </ac:cxnSpMkLst>
        </pc:cxnChg>
        <pc:cxnChg chg="add del mod ord">
          <ac:chgData name="Yiqun Dai" userId="360a2182-b97f-4635-b990-04f846616e33" providerId="ADAL" clId="{8F04EA49-0EFC-48F3-A4D8-E0F0D3B461A8}" dt="2025-11-09T04:27:10.060" v="279970"/>
          <ac:cxnSpMkLst>
            <pc:docMk/>
            <pc:sldMk cId="3782203074" sldId="2147483078"/>
            <ac:cxnSpMk id="596" creationId="{899B17F5-44AE-22C1-319B-81E384882557}"/>
          </ac:cxnSpMkLst>
        </pc:cxnChg>
        <pc:cxnChg chg="add del mod ord">
          <ac:chgData name="Yiqun Dai" userId="360a2182-b97f-4635-b990-04f846616e33" providerId="ADAL" clId="{8F04EA49-0EFC-48F3-A4D8-E0F0D3B461A8}" dt="2025-11-09T04:27:10.060" v="279972"/>
          <ac:cxnSpMkLst>
            <pc:docMk/>
            <pc:sldMk cId="3782203074" sldId="2147483078"/>
            <ac:cxnSpMk id="597" creationId="{49C57AD2-BC3E-8C01-9A3D-A19C0E798F96}"/>
          </ac:cxnSpMkLst>
        </pc:cxnChg>
        <pc:cxnChg chg="add del mod ord">
          <ac:chgData name="Yiqun Dai" userId="360a2182-b97f-4635-b990-04f846616e33" providerId="ADAL" clId="{8F04EA49-0EFC-48F3-A4D8-E0F0D3B461A8}" dt="2025-11-09T04:27:10.060" v="279974"/>
          <ac:cxnSpMkLst>
            <pc:docMk/>
            <pc:sldMk cId="3782203074" sldId="2147483078"/>
            <ac:cxnSpMk id="598" creationId="{050E070F-9D78-8C6B-50F2-2B8B356DB30C}"/>
          </ac:cxnSpMkLst>
        </pc:cxnChg>
        <pc:cxnChg chg="add del mod ord">
          <ac:chgData name="Yiqun Dai" userId="360a2182-b97f-4635-b990-04f846616e33" providerId="ADAL" clId="{8F04EA49-0EFC-48F3-A4D8-E0F0D3B461A8}" dt="2025-11-09T04:27:10.060" v="279976"/>
          <ac:cxnSpMkLst>
            <pc:docMk/>
            <pc:sldMk cId="3782203074" sldId="2147483078"/>
            <ac:cxnSpMk id="599" creationId="{D964D0DE-F013-CF27-D2C4-FA3610EE77B5}"/>
          </ac:cxnSpMkLst>
        </pc:cxnChg>
        <pc:cxnChg chg="add del mod ord">
          <ac:chgData name="Yiqun Dai" userId="360a2182-b97f-4635-b990-04f846616e33" providerId="ADAL" clId="{8F04EA49-0EFC-48F3-A4D8-E0F0D3B461A8}" dt="2025-11-09T04:27:10.060" v="279978"/>
          <ac:cxnSpMkLst>
            <pc:docMk/>
            <pc:sldMk cId="3782203074" sldId="2147483078"/>
            <ac:cxnSpMk id="600" creationId="{28C78C18-74EC-82C7-116B-955ABE8CBC45}"/>
          </ac:cxnSpMkLst>
        </pc:cxnChg>
        <pc:cxnChg chg="add mod ord">
          <ac:chgData name="Yiqun Dai" userId="360a2182-b97f-4635-b990-04f846616e33" providerId="ADAL" clId="{8F04EA49-0EFC-48F3-A4D8-E0F0D3B461A8}" dt="2025-11-09T04:27:10.944" v="280190"/>
          <ac:cxnSpMkLst>
            <pc:docMk/>
            <pc:sldMk cId="3782203074" sldId="2147483078"/>
            <ac:cxnSpMk id="605" creationId="{4963DAD4-8E28-64DD-4AAD-14E4EA1C018C}"/>
          </ac:cxnSpMkLst>
        </pc:cxnChg>
        <pc:cxnChg chg="add mod ord">
          <ac:chgData name="Yiqun Dai" userId="360a2182-b97f-4635-b990-04f846616e33" providerId="ADAL" clId="{8F04EA49-0EFC-48F3-A4D8-E0F0D3B461A8}" dt="2025-11-09T04:27:10.944" v="280192"/>
          <ac:cxnSpMkLst>
            <pc:docMk/>
            <pc:sldMk cId="3782203074" sldId="2147483078"/>
            <ac:cxnSpMk id="606" creationId="{DFFD9DB4-EB8E-669B-070F-C439A7F13BD0}"/>
          </ac:cxnSpMkLst>
        </pc:cxnChg>
        <pc:cxnChg chg="add mod ord">
          <ac:chgData name="Yiqun Dai" userId="360a2182-b97f-4635-b990-04f846616e33" providerId="ADAL" clId="{8F04EA49-0EFC-48F3-A4D8-E0F0D3B461A8}" dt="2025-11-09T04:27:10.944" v="280194"/>
          <ac:cxnSpMkLst>
            <pc:docMk/>
            <pc:sldMk cId="3782203074" sldId="2147483078"/>
            <ac:cxnSpMk id="607" creationId="{AF5CF4D7-6E1A-8663-8B2A-815F7A357785}"/>
          </ac:cxnSpMkLst>
        </pc:cxnChg>
        <pc:cxnChg chg="add mod ord">
          <ac:chgData name="Yiqun Dai" userId="360a2182-b97f-4635-b990-04f846616e33" providerId="ADAL" clId="{8F04EA49-0EFC-48F3-A4D8-E0F0D3B461A8}" dt="2025-11-09T04:27:10.944" v="280196"/>
          <ac:cxnSpMkLst>
            <pc:docMk/>
            <pc:sldMk cId="3782203074" sldId="2147483078"/>
            <ac:cxnSpMk id="608" creationId="{EBFC9F46-268E-2972-4244-0E957E722E67}"/>
          </ac:cxnSpMkLst>
        </pc:cxnChg>
        <pc:cxnChg chg="add mod ord">
          <ac:chgData name="Yiqun Dai" userId="360a2182-b97f-4635-b990-04f846616e33" providerId="ADAL" clId="{8F04EA49-0EFC-48F3-A4D8-E0F0D3B461A8}" dt="2025-11-09T04:27:10.944" v="280198"/>
          <ac:cxnSpMkLst>
            <pc:docMk/>
            <pc:sldMk cId="3782203074" sldId="2147483078"/>
            <ac:cxnSpMk id="609" creationId="{2069D993-7E35-29AF-54DF-CEAD38CC318F}"/>
          </ac:cxnSpMkLst>
        </pc:cxnChg>
      </pc:sldChg>
      <pc:sldChg chg="addSp delSp modSp add mod modNotesTx">
        <pc:chgData name="Yiqun Dai" userId="360a2182-b97f-4635-b990-04f846616e33" providerId="ADAL" clId="{8F04EA49-0EFC-48F3-A4D8-E0F0D3B461A8}" dt="2025-11-09T07:09:17.271" v="282985" actId="403"/>
        <pc:sldMkLst>
          <pc:docMk/>
          <pc:sldMk cId="3643436976" sldId="2147483079"/>
        </pc:sldMkLst>
        <pc:spChg chg="mod ord">
          <ac:chgData name="Yiqun Dai" userId="360a2182-b97f-4635-b990-04f846616e33" providerId="ADAL" clId="{8F04EA49-0EFC-48F3-A4D8-E0F0D3B461A8}" dt="2025-11-09T07:09:00.352" v="282865"/>
          <ac:spMkLst>
            <pc:docMk/>
            <pc:sldMk cId="3643436976" sldId="2147483079"/>
            <ac:spMk id="2" creationId="{EF827EB1-8B3E-15EC-6D27-7199C273ABA1}"/>
          </ac:spMkLst>
        </pc:spChg>
        <pc:spChg chg="add mod ord">
          <ac:chgData name="Yiqun Dai" userId="360a2182-b97f-4635-b990-04f846616e33" providerId="ADAL" clId="{8F04EA49-0EFC-48F3-A4D8-E0F0D3B461A8}" dt="2025-11-09T07:09:00.416" v="282977"/>
          <ac:spMkLst>
            <pc:docMk/>
            <pc:sldMk cId="3643436976" sldId="2147483079"/>
            <ac:spMk id="3" creationId="{AA380B36-B163-1730-F306-E37B050DCBB3}"/>
          </ac:spMkLst>
        </pc:spChg>
        <pc:spChg chg="add del mod modVis">
          <ac:chgData name="Yiqun Dai" userId="360a2182-b97f-4635-b990-04f846616e33" providerId="ADAL" clId="{8F04EA49-0EFC-48F3-A4D8-E0F0D3B461A8}" dt="2025-11-09T06:55:30.756" v="280411"/>
          <ac:spMkLst>
            <pc:docMk/>
            <pc:sldMk cId="3643436976" sldId="2147483079"/>
            <ac:spMk id="4" creationId="{E6506288-C64B-A0A5-B92F-450481DD9754}"/>
          </ac:spMkLst>
        </pc:spChg>
        <pc:spChg chg="add del mod modVis">
          <ac:chgData name="Yiqun Dai" userId="360a2182-b97f-4635-b990-04f846616e33" providerId="ADAL" clId="{8F04EA49-0EFC-48F3-A4D8-E0F0D3B461A8}" dt="2025-11-09T06:56:48.725" v="281099"/>
          <ac:spMkLst>
            <pc:docMk/>
            <pc:sldMk cId="3643436976" sldId="2147483079"/>
            <ac:spMk id="5" creationId="{BC0480EC-E1C5-2737-18D6-D3442CCB964A}"/>
          </ac:spMkLst>
        </pc:spChg>
        <pc:spChg chg="mod">
          <ac:chgData name="Yiqun Dai" userId="360a2182-b97f-4635-b990-04f846616e33" providerId="ADAL" clId="{8F04EA49-0EFC-48F3-A4D8-E0F0D3B461A8}" dt="2025-11-09T07:09:00.416" v="282970"/>
          <ac:spMkLst>
            <pc:docMk/>
            <pc:sldMk cId="3643436976" sldId="2147483079"/>
            <ac:spMk id="6" creationId="{E1168A9D-D8E5-6780-B420-5ADC9BC269E4}"/>
          </ac:spMkLst>
        </pc:spChg>
        <pc:spChg chg="mod">
          <ac:chgData name="Yiqun Dai" userId="360a2182-b97f-4635-b990-04f846616e33" providerId="ADAL" clId="{8F04EA49-0EFC-48F3-A4D8-E0F0D3B461A8}" dt="2025-11-09T07:09:00.416" v="282971"/>
          <ac:spMkLst>
            <pc:docMk/>
            <pc:sldMk cId="3643436976" sldId="2147483079"/>
            <ac:spMk id="7" creationId="{EF55E82B-D7B5-1B1A-F01C-40BF6D72BC46}"/>
          </ac:spMkLst>
        </pc:spChg>
        <pc:spChg chg="mod">
          <ac:chgData name="Yiqun Dai" userId="360a2182-b97f-4635-b990-04f846616e33" providerId="ADAL" clId="{8F04EA49-0EFC-48F3-A4D8-E0F0D3B461A8}" dt="2025-11-09T07:09:00.416" v="282972"/>
          <ac:spMkLst>
            <pc:docMk/>
            <pc:sldMk cId="3643436976" sldId="2147483079"/>
            <ac:spMk id="8" creationId="{E27CAE76-D2DA-D7F0-DBF1-ED96C62A6343}"/>
          </ac:spMkLst>
        </pc:spChg>
        <pc:spChg chg="mod">
          <ac:chgData name="Yiqun Dai" userId="360a2182-b97f-4635-b990-04f846616e33" providerId="ADAL" clId="{8F04EA49-0EFC-48F3-A4D8-E0F0D3B461A8}" dt="2025-11-09T07:09:00.416" v="282973"/>
          <ac:spMkLst>
            <pc:docMk/>
            <pc:sldMk cId="3643436976" sldId="2147483079"/>
            <ac:spMk id="9" creationId="{F1419304-BF4C-2D37-987D-A5627D776682}"/>
          </ac:spMkLst>
        </pc:spChg>
        <pc:spChg chg="mod">
          <ac:chgData name="Yiqun Dai" userId="360a2182-b97f-4635-b990-04f846616e33" providerId="ADAL" clId="{8F04EA49-0EFC-48F3-A4D8-E0F0D3B461A8}" dt="2025-11-09T07:09:00.416" v="282974"/>
          <ac:spMkLst>
            <pc:docMk/>
            <pc:sldMk cId="3643436976" sldId="2147483079"/>
            <ac:spMk id="10" creationId="{9A6112D8-BC20-6BF8-05DB-D0684F4664EE}"/>
          </ac:spMkLst>
        </pc:spChg>
        <pc:spChg chg="mod">
          <ac:chgData name="Yiqun Dai" userId="360a2182-b97f-4635-b990-04f846616e33" providerId="ADAL" clId="{8F04EA49-0EFC-48F3-A4D8-E0F0D3B461A8}" dt="2025-11-09T07:09:00.416" v="282975"/>
          <ac:spMkLst>
            <pc:docMk/>
            <pc:sldMk cId="3643436976" sldId="2147483079"/>
            <ac:spMk id="11" creationId="{2253F0E0-EF86-D294-15EF-A6A0151708C9}"/>
          </ac:spMkLst>
        </pc:spChg>
        <pc:spChg chg="del mod">
          <ac:chgData name="Yiqun Dai" userId="360a2182-b97f-4635-b990-04f846616e33" providerId="ADAL" clId="{8F04EA49-0EFC-48F3-A4D8-E0F0D3B461A8}" dt="2025-11-09T06:56:50.240" v="281107"/>
          <ac:spMkLst>
            <pc:docMk/>
            <pc:sldMk cId="3643436976" sldId="2147483079"/>
            <ac:spMk id="12" creationId="{B561CBD4-D699-A211-E3DB-F93D0E04ECD7}"/>
          </ac:spMkLst>
        </pc:spChg>
        <pc:spChg chg="del mod">
          <ac:chgData name="Yiqun Dai" userId="360a2182-b97f-4635-b990-04f846616e33" providerId="ADAL" clId="{8F04EA49-0EFC-48F3-A4D8-E0F0D3B461A8}" dt="2025-11-09T06:56:50.240" v="281109"/>
          <ac:spMkLst>
            <pc:docMk/>
            <pc:sldMk cId="3643436976" sldId="2147483079"/>
            <ac:spMk id="13" creationId="{8E28410F-0971-56D3-B510-0D8B20F915CF}"/>
          </ac:spMkLst>
        </pc:spChg>
        <pc:spChg chg="mod">
          <ac:chgData name="Yiqun Dai" userId="360a2182-b97f-4635-b990-04f846616e33" providerId="ADAL" clId="{8F04EA49-0EFC-48F3-A4D8-E0F0D3B461A8}" dt="2025-11-09T07:09:00.370" v="282878"/>
          <ac:spMkLst>
            <pc:docMk/>
            <pc:sldMk cId="3643436976" sldId="2147483079"/>
            <ac:spMk id="14" creationId="{D3EE5BB7-3102-5868-653B-8D0223F492D3}"/>
          </ac:spMkLst>
        </pc:spChg>
        <pc:spChg chg="mod ord">
          <ac:chgData name="Yiqun Dai" userId="360a2182-b97f-4635-b990-04f846616e33" providerId="ADAL" clId="{8F04EA49-0EFC-48F3-A4D8-E0F0D3B461A8}" dt="2025-11-09T07:09:00.370" v="282880"/>
          <ac:spMkLst>
            <pc:docMk/>
            <pc:sldMk cId="3643436976" sldId="2147483079"/>
            <ac:spMk id="15" creationId="{388ABE05-A9E5-8CF6-DA4E-7802B287E58B}"/>
          </ac:spMkLst>
        </pc:spChg>
        <pc:spChg chg="mod ord">
          <ac:chgData name="Yiqun Dai" userId="360a2182-b97f-4635-b990-04f846616e33" providerId="ADAL" clId="{8F04EA49-0EFC-48F3-A4D8-E0F0D3B461A8}" dt="2025-11-09T07:09:00.370" v="282882"/>
          <ac:spMkLst>
            <pc:docMk/>
            <pc:sldMk cId="3643436976" sldId="2147483079"/>
            <ac:spMk id="17" creationId="{664BC61D-FB73-E3DC-8BBE-4681D77FA21C}"/>
          </ac:spMkLst>
        </pc:spChg>
        <pc:spChg chg="mod">
          <ac:chgData name="Yiqun Dai" userId="360a2182-b97f-4635-b990-04f846616e33" providerId="ADAL" clId="{8F04EA49-0EFC-48F3-A4D8-E0F0D3B461A8}" dt="2025-11-09T07:09:00.370" v="282886"/>
          <ac:spMkLst>
            <pc:docMk/>
            <pc:sldMk cId="3643436976" sldId="2147483079"/>
            <ac:spMk id="18" creationId="{969D9F1E-8FC8-E71B-72D0-1AF1290A2AAA}"/>
          </ac:spMkLst>
        </pc:spChg>
        <pc:spChg chg="mod">
          <ac:chgData name="Yiqun Dai" userId="360a2182-b97f-4635-b990-04f846616e33" providerId="ADAL" clId="{8F04EA49-0EFC-48F3-A4D8-E0F0D3B461A8}" dt="2025-11-09T07:09:00.370" v="282883"/>
          <ac:spMkLst>
            <pc:docMk/>
            <pc:sldMk cId="3643436976" sldId="2147483079"/>
            <ac:spMk id="19" creationId="{45D0FAEE-58AD-C5AC-6CF7-63FFEAA3609F}"/>
          </ac:spMkLst>
        </pc:spChg>
        <pc:spChg chg="mod">
          <ac:chgData name="Yiqun Dai" userId="360a2182-b97f-4635-b990-04f846616e33" providerId="ADAL" clId="{8F04EA49-0EFC-48F3-A4D8-E0F0D3B461A8}" dt="2025-11-09T07:09:00.383" v="282894"/>
          <ac:spMkLst>
            <pc:docMk/>
            <pc:sldMk cId="3643436976" sldId="2147483079"/>
            <ac:spMk id="20" creationId="{A5F41E36-2010-F6EC-8376-5C5B59FAEFD8}"/>
          </ac:spMkLst>
        </pc:spChg>
        <pc:spChg chg="mod">
          <ac:chgData name="Yiqun Dai" userId="360a2182-b97f-4635-b990-04f846616e33" providerId="ADAL" clId="{8F04EA49-0EFC-48F3-A4D8-E0F0D3B461A8}" dt="2025-11-09T07:09:00.370" v="282884"/>
          <ac:spMkLst>
            <pc:docMk/>
            <pc:sldMk cId="3643436976" sldId="2147483079"/>
            <ac:spMk id="21" creationId="{74FCAF79-A649-6495-DA66-E931BE1C762C}"/>
          </ac:spMkLst>
        </pc:spChg>
        <pc:spChg chg="mod">
          <ac:chgData name="Yiqun Dai" userId="360a2182-b97f-4635-b990-04f846616e33" providerId="ADAL" clId="{8F04EA49-0EFC-48F3-A4D8-E0F0D3B461A8}" dt="2025-11-09T07:09:00.370" v="282885"/>
          <ac:spMkLst>
            <pc:docMk/>
            <pc:sldMk cId="3643436976" sldId="2147483079"/>
            <ac:spMk id="22" creationId="{7BC465C6-F86D-C40A-F7B6-82CD00B5AACA}"/>
          </ac:spMkLst>
        </pc:spChg>
        <pc:spChg chg="del mod">
          <ac:chgData name="Yiqun Dai" userId="360a2182-b97f-4635-b990-04f846616e33" providerId="ADAL" clId="{8F04EA49-0EFC-48F3-A4D8-E0F0D3B461A8}" dt="2025-11-09T06:56:50.240" v="281102"/>
          <ac:spMkLst>
            <pc:docMk/>
            <pc:sldMk cId="3643436976" sldId="2147483079"/>
            <ac:spMk id="23" creationId="{1970068D-36CD-2FF4-A23F-4D3D81C52A88}"/>
          </ac:spMkLst>
        </pc:spChg>
        <pc:spChg chg="del mod">
          <ac:chgData name="Yiqun Dai" userId="360a2182-b97f-4635-b990-04f846616e33" providerId="ADAL" clId="{8F04EA49-0EFC-48F3-A4D8-E0F0D3B461A8}" dt="2025-11-09T06:56:50.240" v="281104"/>
          <ac:spMkLst>
            <pc:docMk/>
            <pc:sldMk cId="3643436976" sldId="2147483079"/>
            <ac:spMk id="24" creationId="{9686370D-DBFE-A666-AB75-50BCEA285633}"/>
          </ac:spMkLst>
        </pc:spChg>
        <pc:spChg chg="mod">
          <ac:chgData name="Yiqun Dai" userId="360a2182-b97f-4635-b990-04f846616e33" providerId="ADAL" clId="{8F04EA49-0EFC-48F3-A4D8-E0F0D3B461A8}" dt="2025-11-09T07:09:00.384" v="282895"/>
          <ac:spMkLst>
            <pc:docMk/>
            <pc:sldMk cId="3643436976" sldId="2147483079"/>
            <ac:spMk id="25" creationId="{73E83A37-2AAA-8D28-40B3-DB98F3EF701B}"/>
          </ac:spMkLst>
        </pc:spChg>
        <pc:spChg chg="mod">
          <ac:chgData name="Yiqun Dai" userId="360a2182-b97f-4635-b990-04f846616e33" providerId="ADAL" clId="{8F04EA49-0EFC-48F3-A4D8-E0F0D3B461A8}" dt="2025-11-09T07:09:00.370" v="282887"/>
          <ac:spMkLst>
            <pc:docMk/>
            <pc:sldMk cId="3643436976" sldId="2147483079"/>
            <ac:spMk id="26" creationId="{A8C6B2AD-9A15-5247-9D21-D73EDEDFCFD3}"/>
          </ac:spMkLst>
        </pc:spChg>
        <pc:spChg chg="mod ord">
          <ac:chgData name="Yiqun Dai" userId="360a2182-b97f-4635-b990-04f846616e33" providerId="ADAL" clId="{8F04EA49-0EFC-48F3-A4D8-E0F0D3B461A8}" dt="2025-11-09T07:09:00.370" v="282889"/>
          <ac:spMkLst>
            <pc:docMk/>
            <pc:sldMk cId="3643436976" sldId="2147483079"/>
            <ac:spMk id="27" creationId="{6465CC20-AB97-7597-F850-34FA5C4FA6E0}"/>
          </ac:spMkLst>
        </pc:spChg>
        <pc:spChg chg="mod ord">
          <ac:chgData name="Yiqun Dai" userId="360a2182-b97f-4635-b990-04f846616e33" providerId="ADAL" clId="{8F04EA49-0EFC-48F3-A4D8-E0F0D3B461A8}" dt="2025-11-09T07:09:00.370" v="282890"/>
          <ac:spMkLst>
            <pc:docMk/>
            <pc:sldMk cId="3643436976" sldId="2147483079"/>
            <ac:spMk id="28" creationId="{258F9345-DE60-DCB2-33F9-FD5956AD8F0A}"/>
          </ac:spMkLst>
        </pc:spChg>
        <pc:spChg chg="mod">
          <ac:chgData name="Yiqun Dai" userId="360a2182-b97f-4635-b990-04f846616e33" providerId="ADAL" clId="{8F04EA49-0EFC-48F3-A4D8-E0F0D3B461A8}" dt="2025-11-09T07:09:00.370" v="282891"/>
          <ac:spMkLst>
            <pc:docMk/>
            <pc:sldMk cId="3643436976" sldId="2147483079"/>
            <ac:spMk id="29" creationId="{7D87C531-FBB9-3BEC-2DBB-34D8B8C593D1}"/>
          </ac:spMkLst>
        </pc:spChg>
        <pc:spChg chg="mod">
          <ac:chgData name="Yiqun Dai" userId="360a2182-b97f-4635-b990-04f846616e33" providerId="ADAL" clId="{8F04EA49-0EFC-48F3-A4D8-E0F0D3B461A8}" dt="2025-11-09T07:09:00.370" v="282892"/>
          <ac:spMkLst>
            <pc:docMk/>
            <pc:sldMk cId="3643436976" sldId="2147483079"/>
            <ac:spMk id="30" creationId="{40149F21-47A0-3A2B-0381-301B245955FD}"/>
          </ac:spMkLst>
        </pc:spChg>
        <pc:spChg chg="mod">
          <ac:chgData name="Yiqun Dai" userId="360a2182-b97f-4635-b990-04f846616e33" providerId="ADAL" clId="{8F04EA49-0EFC-48F3-A4D8-E0F0D3B461A8}" dt="2025-11-09T07:09:00.370" v="282893"/>
          <ac:spMkLst>
            <pc:docMk/>
            <pc:sldMk cId="3643436976" sldId="2147483079"/>
            <ac:spMk id="31" creationId="{2DEFB97E-AE34-FCC9-D92D-75D4B188EB9F}"/>
          </ac:spMkLst>
        </pc:spChg>
        <pc:spChg chg="del mod">
          <ac:chgData name="Yiqun Dai" userId="360a2182-b97f-4635-b990-04f846616e33" providerId="ADAL" clId="{8F04EA49-0EFC-48F3-A4D8-E0F0D3B461A8}" dt="2025-11-09T06:56:50.240" v="281103"/>
          <ac:spMkLst>
            <pc:docMk/>
            <pc:sldMk cId="3643436976" sldId="2147483079"/>
            <ac:spMk id="32" creationId="{09D0407A-1775-2F50-D13D-5D86F794F8CE}"/>
          </ac:spMkLst>
        </pc:spChg>
        <pc:spChg chg="del mod">
          <ac:chgData name="Yiqun Dai" userId="360a2182-b97f-4635-b990-04f846616e33" providerId="ADAL" clId="{8F04EA49-0EFC-48F3-A4D8-E0F0D3B461A8}" dt="2025-11-09T06:56:50.240" v="281105"/>
          <ac:spMkLst>
            <pc:docMk/>
            <pc:sldMk cId="3643436976" sldId="2147483079"/>
            <ac:spMk id="33" creationId="{F763DC8A-760D-E1EF-F3B8-6EF5C6F344C1}"/>
          </ac:spMkLst>
        </pc:spChg>
        <pc:spChg chg="mod">
          <ac:chgData name="Yiqun Dai" userId="360a2182-b97f-4635-b990-04f846616e33" providerId="ADAL" clId="{8F04EA49-0EFC-48F3-A4D8-E0F0D3B461A8}" dt="2025-11-09T07:09:00.384" v="282896"/>
          <ac:spMkLst>
            <pc:docMk/>
            <pc:sldMk cId="3643436976" sldId="2147483079"/>
            <ac:spMk id="34" creationId="{BD3CB925-0765-BC32-9FC8-324956E52D47}"/>
          </ac:spMkLst>
        </pc:spChg>
        <pc:spChg chg="add del mod modVis">
          <ac:chgData name="Yiqun Dai" userId="360a2182-b97f-4635-b990-04f846616e33" providerId="ADAL" clId="{8F04EA49-0EFC-48F3-A4D8-E0F0D3B461A8}" dt="2025-11-09T06:56:50.983" v="281556"/>
          <ac:spMkLst>
            <pc:docMk/>
            <pc:sldMk cId="3643436976" sldId="2147483079"/>
            <ac:spMk id="41" creationId="{46945252-EF05-8D6C-0274-0EAD6B3B3F78}"/>
          </ac:spMkLst>
        </pc:spChg>
        <pc:spChg chg="add del mod modVis">
          <ac:chgData name="Yiqun Dai" userId="360a2182-b97f-4635-b990-04f846616e33" providerId="ADAL" clId="{8F04EA49-0EFC-48F3-A4D8-E0F0D3B461A8}" dt="2025-11-09T06:57:20.059" v="281735"/>
          <ac:spMkLst>
            <pc:docMk/>
            <pc:sldMk cId="3643436976" sldId="2147483079"/>
            <ac:spMk id="43" creationId="{5243968C-9639-0ADA-1D8C-09019271C20A}"/>
          </ac:spMkLst>
        </pc:spChg>
        <pc:spChg chg="add del mod modVis">
          <ac:chgData name="Yiqun Dai" userId="360a2182-b97f-4635-b990-04f846616e33" providerId="ADAL" clId="{8F04EA49-0EFC-48F3-A4D8-E0F0D3B461A8}" dt="2025-11-09T06:57:30.609" v="281910"/>
          <ac:spMkLst>
            <pc:docMk/>
            <pc:sldMk cId="3643436976" sldId="2147483079"/>
            <ac:spMk id="45" creationId="{91AB13F8-C786-C7E1-F71C-AEA41FF3D630}"/>
          </ac:spMkLst>
        </pc:spChg>
        <pc:spChg chg="add del mod modVis">
          <ac:chgData name="Yiqun Dai" userId="360a2182-b97f-4635-b990-04f846616e33" providerId="ADAL" clId="{8F04EA49-0EFC-48F3-A4D8-E0F0D3B461A8}" dt="2025-11-09T06:57:37.656" v="282079"/>
          <ac:spMkLst>
            <pc:docMk/>
            <pc:sldMk cId="3643436976" sldId="2147483079"/>
            <ac:spMk id="47" creationId="{BE42F22C-5D8E-505F-0358-F1359F2B620D}"/>
          </ac:spMkLst>
        </pc:spChg>
        <pc:spChg chg="add del mod modVis">
          <ac:chgData name="Yiqun Dai" userId="360a2182-b97f-4635-b990-04f846616e33" providerId="ADAL" clId="{8F04EA49-0EFC-48F3-A4D8-E0F0D3B461A8}" dt="2025-11-09T06:57:53.185" v="282244"/>
          <ac:spMkLst>
            <pc:docMk/>
            <pc:sldMk cId="3643436976" sldId="2147483079"/>
            <ac:spMk id="49" creationId="{15EC9385-4267-261D-03EC-2447A25FA931}"/>
          </ac:spMkLst>
        </pc:spChg>
        <pc:spChg chg="add del mod modVis">
          <ac:chgData name="Yiqun Dai" userId="360a2182-b97f-4635-b990-04f846616e33" providerId="ADAL" clId="{8F04EA49-0EFC-48F3-A4D8-E0F0D3B461A8}" dt="2025-11-09T06:58:01.809" v="282401"/>
          <ac:spMkLst>
            <pc:docMk/>
            <pc:sldMk cId="3643436976" sldId="2147483079"/>
            <ac:spMk id="51" creationId="{78D3B266-DD81-C108-778E-9522CFBAE48C}"/>
          </ac:spMkLst>
        </pc:spChg>
        <pc:spChg chg="mod ord">
          <ac:chgData name="Yiqun Dai" userId="360a2182-b97f-4635-b990-04f846616e33" providerId="ADAL" clId="{8F04EA49-0EFC-48F3-A4D8-E0F0D3B461A8}" dt="2025-11-09T07:09:00.416" v="282959"/>
          <ac:spMkLst>
            <pc:docMk/>
            <pc:sldMk cId="3643436976" sldId="2147483079"/>
            <ac:spMk id="54" creationId="{C75AB386-E421-ADC1-639D-C3396010E0E2}"/>
          </ac:spMkLst>
        </pc:spChg>
        <pc:spChg chg="mod ord">
          <ac:chgData name="Yiqun Dai" userId="360a2182-b97f-4635-b990-04f846616e33" providerId="ADAL" clId="{8F04EA49-0EFC-48F3-A4D8-E0F0D3B461A8}" dt="2025-11-09T07:09:00.416" v="282961"/>
          <ac:spMkLst>
            <pc:docMk/>
            <pc:sldMk cId="3643436976" sldId="2147483079"/>
            <ac:spMk id="55" creationId="{6FDC2A2F-A9B2-DD3D-F833-58C71A3A5E8B}"/>
          </ac:spMkLst>
        </pc:spChg>
        <pc:spChg chg="mod ord">
          <ac:chgData name="Yiqun Dai" userId="360a2182-b97f-4635-b990-04f846616e33" providerId="ADAL" clId="{8F04EA49-0EFC-48F3-A4D8-E0F0D3B461A8}" dt="2025-11-09T07:09:00.416" v="282963"/>
          <ac:spMkLst>
            <pc:docMk/>
            <pc:sldMk cId="3643436976" sldId="2147483079"/>
            <ac:spMk id="56" creationId="{546A5674-3916-B0E8-D452-E5B9AB9F078E}"/>
          </ac:spMkLst>
        </pc:spChg>
        <pc:spChg chg="mod ord">
          <ac:chgData name="Yiqun Dai" userId="360a2182-b97f-4635-b990-04f846616e33" providerId="ADAL" clId="{8F04EA49-0EFC-48F3-A4D8-E0F0D3B461A8}" dt="2025-11-09T07:09:00.416" v="282965"/>
          <ac:spMkLst>
            <pc:docMk/>
            <pc:sldMk cId="3643436976" sldId="2147483079"/>
            <ac:spMk id="57" creationId="{9C30E9B6-62E4-5E4E-FAFB-43B3988D8EAF}"/>
          </ac:spMkLst>
        </pc:spChg>
        <pc:spChg chg="mod ord">
          <ac:chgData name="Yiqun Dai" userId="360a2182-b97f-4635-b990-04f846616e33" providerId="ADAL" clId="{8F04EA49-0EFC-48F3-A4D8-E0F0D3B461A8}" dt="2025-11-09T07:09:00.416" v="282967"/>
          <ac:spMkLst>
            <pc:docMk/>
            <pc:sldMk cId="3643436976" sldId="2147483079"/>
            <ac:spMk id="58" creationId="{3884CECB-5CCD-924D-3413-E06E3E128A64}"/>
          </ac:spMkLst>
        </pc:spChg>
        <pc:spChg chg="mod ord">
          <ac:chgData name="Yiqun Dai" userId="360a2182-b97f-4635-b990-04f846616e33" providerId="ADAL" clId="{8F04EA49-0EFC-48F3-A4D8-E0F0D3B461A8}" dt="2025-11-09T07:09:00.416" v="282969"/>
          <ac:spMkLst>
            <pc:docMk/>
            <pc:sldMk cId="3643436976" sldId="2147483079"/>
            <ac:spMk id="59" creationId="{2971643F-F89A-CF6D-A2B2-A972464B5D02}"/>
          </ac:spMkLst>
        </pc:spChg>
        <pc:spChg chg="del mod">
          <ac:chgData name="Yiqun Dai" userId="360a2182-b97f-4635-b990-04f846616e33" providerId="ADAL" clId="{8F04EA49-0EFC-48F3-A4D8-E0F0D3B461A8}" dt="2025-11-09T06:56:50.240" v="281106"/>
          <ac:spMkLst>
            <pc:docMk/>
            <pc:sldMk cId="3643436976" sldId="2147483079"/>
            <ac:spMk id="60" creationId="{AF17F11D-C689-4920-5B50-8B4EB3F383F5}"/>
          </ac:spMkLst>
        </pc:spChg>
        <pc:spChg chg="del mod">
          <ac:chgData name="Yiqun Dai" userId="360a2182-b97f-4635-b990-04f846616e33" providerId="ADAL" clId="{8F04EA49-0EFC-48F3-A4D8-E0F0D3B461A8}" dt="2025-11-09T06:56:50.240" v="281108"/>
          <ac:spMkLst>
            <pc:docMk/>
            <pc:sldMk cId="3643436976" sldId="2147483079"/>
            <ac:spMk id="61" creationId="{C7A26A64-A4DE-2DFB-B763-69A522FD0AD5}"/>
          </ac:spMkLst>
        </pc:spChg>
        <pc:spChg chg="mod ord">
          <ac:chgData name="Yiqun Dai" userId="360a2182-b97f-4635-b990-04f846616e33" providerId="ADAL" clId="{8F04EA49-0EFC-48F3-A4D8-E0F0D3B461A8}" dt="2025-11-09T07:09:00.385" v="282898"/>
          <ac:spMkLst>
            <pc:docMk/>
            <pc:sldMk cId="3643436976" sldId="2147483079"/>
            <ac:spMk id="62" creationId="{47814182-7D76-64A4-933E-BEE92D5A3C20}"/>
          </ac:spMkLst>
        </pc:spChg>
        <pc:spChg chg="add mod">
          <ac:chgData name="Yiqun Dai" userId="360a2182-b97f-4635-b990-04f846616e33" providerId="ADAL" clId="{8F04EA49-0EFC-48F3-A4D8-E0F0D3B461A8}" dt="2025-11-09T07:09:00.403" v="282943"/>
          <ac:spMkLst>
            <pc:docMk/>
            <pc:sldMk cId="3643436976" sldId="2147483079"/>
            <ac:spMk id="63" creationId="{AC9425F2-4488-B5F5-0B82-E6957EA31CE0}"/>
          </ac:spMkLst>
        </pc:spChg>
        <pc:spChg chg="mod">
          <ac:chgData name="Yiqun Dai" userId="360a2182-b97f-4635-b990-04f846616e33" providerId="ADAL" clId="{8F04EA49-0EFC-48F3-A4D8-E0F0D3B461A8}" dt="2025-11-09T07:09:00.388" v="282907"/>
          <ac:spMkLst>
            <pc:docMk/>
            <pc:sldMk cId="3643436976" sldId="2147483079"/>
            <ac:spMk id="133" creationId="{0288F4D8-8ACE-4D7F-AB02-9C95C6F921B2}"/>
          </ac:spMkLst>
        </pc:spChg>
        <pc:spChg chg="mod">
          <ac:chgData name="Yiqun Dai" userId="360a2182-b97f-4635-b990-04f846616e33" providerId="ADAL" clId="{8F04EA49-0EFC-48F3-A4D8-E0F0D3B461A8}" dt="2025-11-09T07:09:00.388" v="282908"/>
          <ac:spMkLst>
            <pc:docMk/>
            <pc:sldMk cId="3643436976" sldId="2147483079"/>
            <ac:spMk id="134" creationId="{8A685CE3-3AA8-512C-ADCE-D7DC792AC56C}"/>
          </ac:spMkLst>
        </pc:spChg>
        <pc:spChg chg="mod">
          <ac:chgData name="Yiqun Dai" userId="360a2182-b97f-4635-b990-04f846616e33" providerId="ADAL" clId="{8F04EA49-0EFC-48F3-A4D8-E0F0D3B461A8}" dt="2025-11-09T07:09:00.388" v="282909"/>
          <ac:spMkLst>
            <pc:docMk/>
            <pc:sldMk cId="3643436976" sldId="2147483079"/>
            <ac:spMk id="135" creationId="{9CDA0D0B-7D86-7D59-DF73-3EA4C48C79EC}"/>
          </ac:spMkLst>
        </pc:spChg>
        <pc:spChg chg="mod">
          <ac:chgData name="Yiqun Dai" userId="360a2182-b97f-4635-b990-04f846616e33" providerId="ADAL" clId="{8F04EA49-0EFC-48F3-A4D8-E0F0D3B461A8}" dt="2025-11-09T07:09:00.388" v="282910"/>
          <ac:spMkLst>
            <pc:docMk/>
            <pc:sldMk cId="3643436976" sldId="2147483079"/>
            <ac:spMk id="136" creationId="{55B81F4D-93E1-8D70-4335-D8C708933BF5}"/>
          </ac:spMkLst>
        </pc:spChg>
        <pc:spChg chg="mod">
          <ac:chgData name="Yiqun Dai" userId="360a2182-b97f-4635-b990-04f846616e33" providerId="ADAL" clId="{8F04EA49-0EFC-48F3-A4D8-E0F0D3B461A8}" dt="2025-11-09T07:09:00.388" v="282911"/>
          <ac:spMkLst>
            <pc:docMk/>
            <pc:sldMk cId="3643436976" sldId="2147483079"/>
            <ac:spMk id="137" creationId="{8E873A77-360B-E7EB-5A16-8B21DDA8407A}"/>
          </ac:spMkLst>
        </pc:spChg>
        <pc:spChg chg="mod">
          <ac:chgData name="Yiqun Dai" userId="360a2182-b97f-4635-b990-04f846616e33" providerId="ADAL" clId="{8F04EA49-0EFC-48F3-A4D8-E0F0D3B461A8}" dt="2025-11-09T07:09:00.388" v="282912"/>
          <ac:spMkLst>
            <pc:docMk/>
            <pc:sldMk cId="3643436976" sldId="2147483079"/>
            <ac:spMk id="138" creationId="{A65B85F6-0D9A-C6B8-91DC-9FB296D252BB}"/>
          </ac:spMkLst>
        </pc:spChg>
        <pc:spChg chg="mod">
          <ac:chgData name="Yiqun Dai" userId="360a2182-b97f-4635-b990-04f846616e33" providerId="ADAL" clId="{8F04EA49-0EFC-48F3-A4D8-E0F0D3B461A8}" dt="2025-11-09T07:09:00.388" v="282913"/>
          <ac:spMkLst>
            <pc:docMk/>
            <pc:sldMk cId="3643436976" sldId="2147483079"/>
            <ac:spMk id="139" creationId="{92D71912-E81E-AC68-F12D-4242D3434426}"/>
          </ac:spMkLst>
        </pc:spChg>
        <pc:spChg chg="mod">
          <ac:chgData name="Yiqun Dai" userId="360a2182-b97f-4635-b990-04f846616e33" providerId="ADAL" clId="{8F04EA49-0EFC-48F3-A4D8-E0F0D3B461A8}" dt="2025-11-09T07:09:00.388" v="282914"/>
          <ac:spMkLst>
            <pc:docMk/>
            <pc:sldMk cId="3643436976" sldId="2147483079"/>
            <ac:spMk id="140" creationId="{BB48C049-F87D-2570-628B-4EDDAC57BDA3}"/>
          </ac:spMkLst>
        </pc:spChg>
        <pc:spChg chg="mod">
          <ac:chgData name="Yiqun Dai" userId="360a2182-b97f-4635-b990-04f846616e33" providerId="ADAL" clId="{8F04EA49-0EFC-48F3-A4D8-E0F0D3B461A8}" dt="2025-11-09T07:09:00.388" v="282915"/>
          <ac:spMkLst>
            <pc:docMk/>
            <pc:sldMk cId="3643436976" sldId="2147483079"/>
            <ac:spMk id="141" creationId="{C17E1A7B-130E-8A38-E554-BC2862E364E9}"/>
          </ac:spMkLst>
        </pc:spChg>
        <pc:spChg chg="mod">
          <ac:chgData name="Yiqun Dai" userId="360a2182-b97f-4635-b990-04f846616e33" providerId="ADAL" clId="{8F04EA49-0EFC-48F3-A4D8-E0F0D3B461A8}" dt="2025-11-09T07:09:00.388" v="282916"/>
          <ac:spMkLst>
            <pc:docMk/>
            <pc:sldMk cId="3643436976" sldId="2147483079"/>
            <ac:spMk id="142" creationId="{AF995D7A-89B5-3E52-624D-90709DC2F234}"/>
          </ac:spMkLst>
        </pc:spChg>
        <pc:spChg chg="mod">
          <ac:chgData name="Yiqun Dai" userId="360a2182-b97f-4635-b990-04f846616e33" providerId="ADAL" clId="{8F04EA49-0EFC-48F3-A4D8-E0F0D3B461A8}" dt="2025-11-09T07:09:00.388" v="282917"/>
          <ac:spMkLst>
            <pc:docMk/>
            <pc:sldMk cId="3643436976" sldId="2147483079"/>
            <ac:spMk id="143" creationId="{28C17417-D901-B5AE-6A27-140B1E371ACB}"/>
          </ac:spMkLst>
        </pc:spChg>
        <pc:spChg chg="mod">
          <ac:chgData name="Yiqun Dai" userId="360a2182-b97f-4635-b990-04f846616e33" providerId="ADAL" clId="{8F04EA49-0EFC-48F3-A4D8-E0F0D3B461A8}" dt="2025-11-09T07:09:00.388" v="282918"/>
          <ac:spMkLst>
            <pc:docMk/>
            <pc:sldMk cId="3643436976" sldId="2147483079"/>
            <ac:spMk id="144" creationId="{2DC73AD9-0CB3-CF37-7894-4AB1C59A912D}"/>
          </ac:spMkLst>
        </pc:spChg>
        <pc:spChg chg="mod">
          <ac:chgData name="Yiqun Dai" userId="360a2182-b97f-4635-b990-04f846616e33" providerId="ADAL" clId="{8F04EA49-0EFC-48F3-A4D8-E0F0D3B461A8}" dt="2025-11-09T07:09:00.388" v="282919"/>
          <ac:spMkLst>
            <pc:docMk/>
            <pc:sldMk cId="3643436976" sldId="2147483079"/>
            <ac:spMk id="145" creationId="{B12833B9-C2C7-47D4-C144-08A9CAC87D44}"/>
          </ac:spMkLst>
        </pc:spChg>
        <pc:spChg chg="mod">
          <ac:chgData name="Yiqun Dai" userId="360a2182-b97f-4635-b990-04f846616e33" providerId="ADAL" clId="{8F04EA49-0EFC-48F3-A4D8-E0F0D3B461A8}" dt="2025-11-09T07:09:00.399" v="282920"/>
          <ac:spMkLst>
            <pc:docMk/>
            <pc:sldMk cId="3643436976" sldId="2147483079"/>
            <ac:spMk id="146" creationId="{E8976CB7-CFD3-27C8-602C-07FE685DE6BD}"/>
          </ac:spMkLst>
        </pc:spChg>
        <pc:spChg chg="mod ord">
          <ac:chgData name="Yiqun Dai" userId="360a2182-b97f-4635-b990-04f846616e33" providerId="ADAL" clId="{8F04EA49-0EFC-48F3-A4D8-E0F0D3B461A8}" dt="2025-11-09T07:09:00.402" v="282926"/>
          <ac:spMkLst>
            <pc:docMk/>
            <pc:sldMk cId="3643436976" sldId="2147483079"/>
            <ac:spMk id="147" creationId="{362C2E1D-F123-1560-C87B-3E5FB176F6C7}"/>
          </ac:spMkLst>
        </pc:spChg>
        <pc:spChg chg="mod ord">
          <ac:chgData name="Yiqun Dai" userId="360a2182-b97f-4635-b990-04f846616e33" providerId="ADAL" clId="{8F04EA49-0EFC-48F3-A4D8-E0F0D3B461A8}" dt="2025-11-09T07:09:00.403" v="282928"/>
          <ac:spMkLst>
            <pc:docMk/>
            <pc:sldMk cId="3643436976" sldId="2147483079"/>
            <ac:spMk id="148" creationId="{B9F90135-EE27-C14C-47EE-90C914E3701F}"/>
          </ac:spMkLst>
        </pc:spChg>
        <pc:spChg chg="mod ord">
          <ac:chgData name="Yiqun Dai" userId="360a2182-b97f-4635-b990-04f846616e33" providerId="ADAL" clId="{8F04EA49-0EFC-48F3-A4D8-E0F0D3B461A8}" dt="2025-11-09T07:09:00.403" v="282930"/>
          <ac:spMkLst>
            <pc:docMk/>
            <pc:sldMk cId="3643436976" sldId="2147483079"/>
            <ac:spMk id="149" creationId="{1A9F7D60-12C1-5401-2842-63F704324016}"/>
          </ac:spMkLst>
        </pc:spChg>
        <pc:spChg chg="mod ord">
          <ac:chgData name="Yiqun Dai" userId="360a2182-b97f-4635-b990-04f846616e33" providerId="ADAL" clId="{8F04EA49-0EFC-48F3-A4D8-E0F0D3B461A8}" dt="2025-11-09T07:09:00.403" v="282932"/>
          <ac:spMkLst>
            <pc:docMk/>
            <pc:sldMk cId="3643436976" sldId="2147483079"/>
            <ac:spMk id="150" creationId="{8C8487C6-E4C3-9100-F8C4-9C8BC5FFE7D8}"/>
          </ac:spMkLst>
        </pc:spChg>
        <pc:spChg chg="mod ord">
          <ac:chgData name="Yiqun Dai" userId="360a2182-b97f-4635-b990-04f846616e33" providerId="ADAL" clId="{8F04EA49-0EFC-48F3-A4D8-E0F0D3B461A8}" dt="2025-11-09T07:09:00.403" v="282934"/>
          <ac:spMkLst>
            <pc:docMk/>
            <pc:sldMk cId="3643436976" sldId="2147483079"/>
            <ac:spMk id="151" creationId="{054119D2-B65C-6D85-4EDF-5669B67546F3}"/>
          </ac:spMkLst>
        </pc:spChg>
        <pc:spChg chg="mod ord">
          <ac:chgData name="Yiqun Dai" userId="360a2182-b97f-4635-b990-04f846616e33" providerId="ADAL" clId="{8F04EA49-0EFC-48F3-A4D8-E0F0D3B461A8}" dt="2025-11-09T07:09:00.403" v="282936"/>
          <ac:spMkLst>
            <pc:docMk/>
            <pc:sldMk cId="3643436976" sldId="2147483079"/>
            <ac:spMk id="152" creationId="{B0767968-8A44-A1E1-70A8-605492EE2456}"/>
          </ac:spMkLst>
        </pc:spChg>
        <pc:spChg chg="mod">
          <ac:chgData name="Yiqun Dai" userId="360a2182-b97f-4635-b990-04f846616e33" providerId="ADAL" clId="{8F04EA49-0EFC-48F3-A4D8-E0F0D3B461A8}" dt="2025-11-09T07:09:00.403" v="282938"/>
          <ac:spMkLst>
            <pc:docMk/>
            <pc:sldMk cId="3643436976" sldId="2147483079"/>
            <ac:spMk id="153" creationId="{41B51256-9EB6-A09A-ADDC-FD4B3D65E741}"/>
          </ac:spMkLst>
        </pc:spChg>
        <pc:spChg chg="mod">
          <ac:chgData name="Yiqun Dai" userId="360a2182-b97f-4635-b990-04f846616e33" providerId="ADAL" clId="{8F04EA49-0EFC-48F3-A4D8-E0F0D3B461A8}" dt="2025-11-09T07:09:00.403" v="282939"/>
          <ac:spMkLst>
            <pc:docMk/>
            <pc:sldMk cId="3643436976" sldId="2147483079"/>
            <ac:spMk id="154" creationId="{886257FF-2484-EE84-E99C-9E9B3314B324}"/>
          </ac:spMkLst>
        </pc:spChg>
        <pc:spChg chg="mod">
          <ac:chgData name="Yiqun Dai" userId="360a2182-b97f-4635-b990-04f846616e33" providerId="ADAL" clId="{8F04EA49-0EFC-48F3-A4D8-E0F0D3B461A8}" dt="2025-11-09T07:09:00.403" v="282940"/>
          <ac:spMkLst>
            <pc:docMk/>
            <pc:sldMk cId="3643436976" sldId="2147483079"/>
            <ac:spMk id="155" creationId="{59D8A832-0883-5ED2-0859-0AFDF1A9827B}"/>
          </ac:spMkLst>
        </pc:spChg>
        <pc:spChg chg="mod">
          <ac:chgData name="Yiqun Dai" userId="360a2182-b97f-4635-b990-04f846616e33" providerId="ADAL" clId="{8F04EA49-0EFC-48F3-A4D8-E0F0D3B461A8}" dt="2025-11-09T07:09:00.403" v="282941"/>
          <ac:spMkLst>
            <pc:docMk/>
            <pc:sldMk cId="3643436976" sldId="2147483079"/>
            <ac:spMk id="156" creationId="{9FE30C96-9FD8-03B0-6680-8C5C81588C06}"/>
          </ac:spMkLst>
        </pc:spChg>
        <pc:spChg chg="mod">
          <ac:chgData name="Yiqun Dai" userId="360a2182-b97f-4635-b990-04f846616e33" providerId="ADAL" clId="{8F04EA49-0EFC-48F3-A4D8-E0F0D3B461A8}" dt="2025-11-09T07:09:00.403" v="282942"/>
          <ac:spMkLst>
            <pc:docMk/>
            <pc:sldMk cId="3643436976" sldId="2147483079"/>
            <ac:spMk id="157" creationId="{676220BC-41A2-97C6-CE7C-96C25CC186AC}"/>
          </ac:spMkLst>
        </pc:spChg>
        <pc:spChg chg="add mod ord">
          <ac:chgData name="Yiqun Dai" userId="360a2182-b97f-4635-b990-04f846616e33" providerId="ADAL" clId="{8F04EA49-0EFC-48F3-A4D8-E0F0D3B461A8}" dt="2025-11-09T07:09:00.400" v="282922"/>
          <ac:spMkLst>
            <pc:docMk/>
            <pc:sldMk cId="3643436976" sldId="2147483079"/>
            <ac:spMk id="159" creationId="{885A18A9-7940-F158-31E1-2F68AD70E9F4}"/>
          </ac:spMkLst>
        </pc:spChg>
        <pc:spChg chg="add mod ord">
          <ac:chgData name="Yiqun Dai" userId="360a2182-b97f-4635-b990-04f846616e33" providerId="ADAL" clId="{8F04EA49-0EFC-48F3-A4D8-E0F0D3B461A8}" dt="2025-11-09T07:09:00.401" v="282924"/>
          <ac:spMkLst>
            <pc:docMk/>
            <pc:sldMk cId="3643436976" sldId="2147483079"/>
            <ac:spMk id="160" creationId="{8DB74715-D2FA-B9F1-B3C2-B73C78248751}"/>
          </ac:spMkLst>
        </pc:spChg>
        <pc:spChg chg="add del mod modVis">
          <ac:chgData name="Yiqun Dai" userId="360a2182-b97f-4635-b990-04f846616e33" providerId="ADAL" clId="{8F04EA49-0EFC-48F3-A4D8-E0F0D3B461A8}" dt="2025-11-09T07:09:00.416" v="282979"/>
          <ac:spMkLst>
            <pc:docMk/>
            <pc:sldMk cId="3643436976" sldId="2147483079"/>
            <ac:spMk id="162" creationId="{7B1F60BC-485B-60C7-C9E8-834D15CB8913}"/>
          </ac:spMkLst>
        </pc:spChg>
        <pc:spChg chg="add mod">
          <ac:chgData name="Yiqun Dai" userId="360a2182-b97f-4635-b990-04f846616e33" providerId="ADAL" clId="{8F04EA49-0EFC-48F3-A4D8-E0F0D3B461A8}" dt="2025-11-09T07:09:00.403" v="282937"/>
          <ac:spMkLst>
            <pc:docMk/>
            <pc:sldMk cId="3643436976" sldId="2147483079"/>
            <ac:spMk id="164" creationId="{A45DEC8D-506C-D780-D568-43A23B1D1D0F}"/>
          </ac:spMkLst>
        </pc:spChg>
        <pc:spChg chg="mod ord">
          <ac:chgData name="Yiqun Dai" userId="360a2182-b97f-4635-b990-04f846616e33" providerId="ADAL" clId="{8F04EA49-0EFC-48F3-A4D8-E0F0D3B461A8}" dt="2025-11-09T07:09:00.403" v="282949"/>
          <ac:spMkLst>
            <pc:docMk/>
            <pc:sldMk cId="3643436976" sldId="2147483079"/>
            <ac:spMk id="171" creationId="{293E5EAB-9897-53B8-CA79-F72C2974461D}"/>
          </ac:spMkLst>
        </pc:spChg>
        <pc:spChg chg="mod ord">
          <ac:chgData name="Yiqun Dai" userId="360a2182-b97f-4635-b990-04f846616e33" providerId="ADAL" clId="{8F04EA49-0EFC-48F3-A4D8-E0F0D3B461A8}" dt="2025-11-09T07:09:00.403" v="282951"/>
          <ac:spMkLst>
            <pc:docMk/>
            <pc:sldMk cId="3643436976" sldId="2147483079"/>
            <ac:spMk id="172" creationId="{ADD7E32B-9B7B-83D7-95EF-2A06B8DAAE95}"/>
          </ac:spMkLst>
        </pc:spChg>
        <pc:spChg chg="mod ord">
          <ac:chgData name="Yiqun Dai" userId="360a2182-b97f-4635-b990-04f846616e33" providerId="ADAL" clId="{8F04EA49-0EFC-48F3-A4D8-E0F0D3B461A8}" dt="2025-11-09T07:09:00.415" v="282957"/>
          <ac:spMkLst>
            <pc:docMk/>
            <pc:sldMk cId="3643436976" sldId="2147483079"/>
            <ac:spMk id="238" creationId="{7BDF4C2D-F3BF-9D11-A519-5543E8E4F8A0}"/>
          </ac:spMkLst>
        </pc:spChg>
        <pc:graphicFrameChg chg="mod">
          <ac:chgData name="Yiqun Dai" userId="360a2182-b97f-4635-b990-04f846616e33" providerId="ADAL" clId="{8F04EA49-0EFC-48F3-A4D8-E0F0D3B461A8}" dt="2025-11-09T07:09:08.867" v="282983"/>
          <ac:graphicFrameMkLst>
            <pc:docMk/>
            <pc:sldMk cId="3643436976" sldId="2147483079"/>
            <ac:graphicFrameMk id="16" creationId="{8942CFD7-34E4-FCB6-B23A-45126ABAC89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6:56:50.888" v="281429"/>
          <ac:graphicFrameMkLst>
            <pc:docMk/>
            <pc:sldMk cId="3643436976" sldId="2147483079"/>
            <ac:graphicFrameMk id="40" creationId="{4F06ADBD-C637-E189-5105-D3871F13580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6:57:19.962" v="281594"/>
          <ac:graphicFrameMkLst>
            <pc:docMk/>
            <pc:sldMk cId="3643436976" sldId="2147483079"/>
            <ac:graphicFrameMk id="42" creationId="{E6332E74-0E74-8A46-41F0-99A3B2976D2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6:57:30.494" v="281773"/>
          <ac:graphicFrameMkLst>
            <pc:docMk/>
            <pc:sldMk cId="3643436976" sldId="2147483079"/>
            <ac:graphicFrameMk id="44" creationId="{5609B5D6-A56D-1BBB-BC45-A114879643F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6:57:37.541" v="281948"/>
          <ac:graphicFrameMkLst>
            <pc:docMk/>
            <pc:sldMk cId="3643436976" sldId="2147483079"/>
            <ac:graphicFrameMk id="46" creationId="{1A755C26-F798-1CC4-0262-B330C1C3006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6:57:53.091" v="282119"/>
          <ac:graphicFrameMkLst>
            <pc:docMk/>
            <pc:sldMk cId="3643436976" sldId="2147483079"/>
            <ac:graphicFrameMk id="48" creationId="{F197A335-E400-700F-C353-C92EEC49106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9T06:58:01.731" v="282282"/>
          <ac:graphicFrameMkLst>
            <pc:docMk/>
            <pc:sldMk cId="3643436976" sldId="2147483079"/>
            <ac:graphicFrameMk id="50" creationId="{27D34F9A-023D-88FA-991B-BBBE02A6C709}"/>
          </ac:graphicFrameMkLst>
        </pc:graphicFrameChg>
        <pc:graphicFrameChg chg="del mod ord">
          <ac:chgData name="Yiqun Dai" userId="360a2182-b97f-4635-b990-04f846616e33" providerId="ADAL" clId="{8F04EA49-0EFC-48F3-A4D8-E0F0D3B461A8}" dt="2025-11-09T07:09:00.310" v="282833"/>
          <ac:graphicFrameMkLst>
            <pc:docMk/>
            <pc:sldMk cId="3643436976" sldId="2147483079"/>
            <ac:graphicFrameMk id="52" creationId="{8490C356-EAE5-EE00-59C6-5B29DF0BF7A1}"/>
          </ac:graphicFrameMkLst>
        </pc:graphicFrameChg>
        <pc:graphicFrameChg chg="add mod ord">
          <ac:chgData name="Yiqun Dai" userId="360a2182-b97f-4635-b990-04f846616e33" providerId="ADAL" clId="{8F04EA49-0EFC-48F3-A4D8-E0F0D3B461A8}" dt="2025-11-09T07:09:00.352" v="282867"/>
          <ac:graphicFrameMkLst>
            <pc:docMk/>
            <pc:sldMk cId="3643436976" sldId="2147483079"/>
            <ac:graphicFrameMk id="53" creationId="{4D8DB602-469E-8E4B-2BA7-41B8A3430A31}"/>
          </ac:graphicFrameMkLst>
        </pc:graphicFrameChg>
        <pc:graphicFrameChg chg="del">
          <ac:chgData name="Yiqun Dai" userId="360a2182-b97f-4635-b990-04f846616e33" providerId="ADAL" clId="{8F04EA49-0EFC-48F3-A4D8-E0F0D3B461A8}" dt="2025-11-09T06:56:48.580" v="280941"/>
          <ac:graphicFrameMkLst>
            <pc:docMk/>
            <pc:sldMk cId="3643436976" sldId="2147483079"/>
            <ac:graphicFrameMk id="161" creationId="{C32E3439-D3EE-7C7A-7BAC-CFC6AA3742CF}"/>
          </ac:graphicFrameMkLst>
        </pc:graphicFrameChg>
        <pc:graphicFrameChg chg="add mod ord">
          <ac:chgData name="Yiqun Dai" userId="360a2182-b97f-4635-b990-04f846616e33" providerId="ADAL" clId="{8F04EA49-0EFC-48F3-A4D8-E0F0D3B461A8}" dt="2025-11-09T07:09:00.388" v="282900"/>
          <ac:graphicFrameMkLst>
            <pc:docMk/>
            <pc:sldMk cId="3643436976" sldId="2147483079"/>
            <ac:graphicFrameMk id="163" creationId="{D247357F-2681-EF8A-C4CF-D16FE4EA5EFC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9T07:09:00.403" v="282945"/>
          <ac:graphicFrameMkLst>
            <pc:docMk/>
            <pc:sldMk cId="3643436976" sldId="2147483079"/>
            <ac:graphicFrameMk id="168" creationId="{D2ED8A93-A64F-842C-9362-B936615B9546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9T07:09:17.271" v="282985" actId="403"/>
          <ac:graphicFrameMkLst>
            <pc:docMk/>
            <pc:sldMk cId="3643436976" sldId="2147483079"/>
            <ac:graphicFrameMk id="170" creationId="{D9801C33-6079-305D-D6C9-6FA181383F4A}"/>
          </ac:graphicFrameMkLst>
        </pc:graphicFrameChg>
        <pc:cxnChg chg="del">
          <ac:chgData name="Yiqun Dai" userId="360a2182-b97f-4635-b990-04f846616e33" providerId="ADAL" clId="{8F04EA49-0EFC-48F3-A4D8-E0F0D3B461A8}" dt="2025-11-09T06:56:48.487" v="280831"/>
          <ac:cxnSpMkLst>
            <pc:docMk/>
            <pc:sldMk cId="3643436976" sldId="2147483079"/>
            <ac:cxnSpMk id="35" creationId="{A80BD7F5-3828-1277-EC42-25AFF30C3C82}"/>
          </ac:cxnSpMkLst>
        </pc:cxnChg>
        <pc:cxnChg chg="del mod ord">
          <ac:chgData name="Yiqun Dai" userId="360a2182-b97f-4635-b990-04f846616e33" providerId="ADAL" clId="{8F04EA49-0EFC-48F3-A4D8-E0F0D3B461A8}" dt="2025-11-09T06:56:50.835" v="281350"/>
          <ac:cxnSpMkLst>
            <pc:docMk/>
            <pc:sldMk cId="3643436976" sldId="2147483079"/>
            <ac:cxnSpMk id="36" creationId="{C9A04E61-79E4-4576-17D7-4CCC9FAED114}"/>
          </ac:cxnSpMkLst>
        </pc:cxnChg>
        <pc:cxnChg chg="mod ord">
          <ac:chgData name="Yiqun Dai" userId="360a2182-b97f-4635-b990-04f846616e33" providerId="ADAL" clId="{8F04EA49-0EFC-48F3-A4D8-E0F0D3B461A8}" dt="2025-11-09T07:09:00.367" v="282875"/>
          <ac:cxnSpMkLst>
            <pc:docMk/>
            <pc:sldMk cId="3643436976" sldId="2147483079"/>
            <ac:cxnSpMk id="37" creationId="{C297F3C5-D9A0-5DCA-2872-D91A3FEFC79A}"/>
          </ac:cxnSpMkLst>
        </pc:cxnChg>
        <pc:cxnChg chg="del">
          <ac:chgData name="Yiqun Dai" userId="360a2182-b97f-4635-b990-04f846616e33" providerId="ADAL" clId="{8F04EA49-0EFC-48F3-A4D8-E0F0D3B461A8}" dt="2025-11-09T06:56:48.535" v="280877"/>
          <ac:cxnSpMkLst>
            <pc:docMk/>
            <pc:sldMk cId="3643436976" sldId="2147483079"/>
            <ac:cxnSpMk id="38" creationId="{9281906C-2E88-DA9C-6D31-255829BA268A}"/>
          </ac:cxnSpMkLst>
        </pc:cxnChg>
        <pc:cxnChg chg="mod ord">
          <ac:chgData name="Yiqun Dai" userId="360a2182-b97f-4635-b990-04f846616e33" providerId="ADAL" clId="{8F04EA49-0EFC-48F3-A4D8-E0F0D3B461A8}" dt="2025-11-09T07:09:00.370" v="282877"/>
          <ac:cxnSpMkLst>
            <pc:docMk/>
            <pc:sldMk cId="3643436976" sldId="2147483079"/>
            <ac:cxnSpMk id="39" creationId="{8BA22BF7-1526-7870-2CD2-FA63B3D2563A}"/>
          </ac:cxnSpMkLst>
        </pc:cxnChg>
        <pc:cxnChg chg="mod ord">
          <ac:chgData name="Yiqun Dai" userId="360a2182-b97f-4635-b990-04f846616e33" providerId="ADAL" clId="{8F04EA49-0EFC-48F3-A4D8-E0F0D3B461A8}" dt="2025-11-09T07:09:00.352" v="282869"/>
          <ac:cxnSpMkLst>
            <pc:docMk/>
            <pc:sldMk cId="3643436976" sldId="2147483079"/>
            <ac:cxnSpMk id="128" creationId="{DDA9C43F-300F-C244-B518-B9572F3123C6}"/>
          </ac:cxnSpMkLst>
        </pc:cxnChg>
        <pc:cxnChg chg="mod ord">
          <ac:chgData name="Yiqun Dai" userId="360a2182-b97f-4635-b990-04f846616e33" providerId="ADAL" clId="{8F04EA49-0EFC-48F3-A4D8-E0F0D3B461A8}" dt="2025-11-09T07:09:00.352" v="282871"/>
          <ac:cxnSpMkLst>
            <pc:docMk/>
            <pc:sldMk cId="3643436976" sldId="2147483079"/>
            <ac:cxnSpMk id="129" creationId="{F1392CDD-C776-74B7-E3E7-CF51E02E6730}"/>
          </ac:cxnSpMkLst>
        </pc:cxnChg>
        <pc:cxnChg chg="mod ord">
          <ac:chgData name="Yiqun Dai" userId="360a2182-b97f-4635-b990-04f846616e33" providerId="ADAL" clId="{8F04EA49-0EFC-48F3-A4D8-E0F0D3B461A8}" dt="2025-11-09T07:09:00.388" v="282902"/>
          <ac:cxnSpMkLst>
            <pc:docMk/>
            <pc:sldMk cId="3643436976" sldId="2147483079"/>
            <ac:cxnSpMk id="130" creationId="{1561A093-01E9-B26D-B5F6-5B8D9ACC39CE}"/>
          </ac:cxnSpMkLst>
        </pc:cxnChg>
        <pc:cxnChg chg="mod ord">
          <ac:chgData name="Yiqun Dai" userId="360a2182-b97f-4635-b990-04f846616e33" providerId="ADAL" clId="{8F04EA49-0EFC-48F3-A4D8-E0F0D3B461A8}" dt="2025-11-09T07:09:00.388" v="282904"/>
          <ac:cxnSpMkLst>
            <pc:docMk/>
            <pc:sldMk cId="3643436976" sldId="2147483079"/>
            <ac:cxnSpMk id="131" creationId="{32D54986-8E29-793D-4A16-0D566F266C8D}"/>
          </ac:cxnSpMkLst>
        </pc:cxnChg>
        <pc:cxnChg chg="mod ord">
          <ac:chgData name="Yiqun Dai" userId="360a2182-b97f-4635-b990-04f846616e33" providerId="ADAL" clId="{8F04EA49-0EFC-48F3-A4D8-E0F0D3B461A8}" dt="2025-11-09T07:09:00.388" v="282906"/>
          <ac:cxnSpMkLst>
            <pc:docMk/>
            <pc:sldMk cId="3643436976" sldId="2147483079"/>
            <ac:cxnSpMk id="132" creationId="{9D17D95F-9273-45DB-6D14-7CDFBCFB0CAC}"/>
          </ac:cxnSpMkLst>
        </pc:cxnChg>
        <pc:cxnChg chg="mod ord">
          <ac:chgData name="Yiqun Dai" userId="360a2182-b97f-4635-b990-04f846616e33" providerId="ADAL" clId="{8F04EA49-0EFC-48F3-A4D8-E0F0D3B461A8}" dt="2025-11-09T07:09:00.367" v="282873"/>
          <ac:cxnSpMkLst>
            <pc:docMk/>
            <pc:sldMk cId="3643436976" sldId="2147483079"/>
            <ac:cxnSpMk id="158" creationId="{65E51F99-40E3-36BA-6DE9-88252C28E8BA}"/>
          </ac:cxnSpMkLst>
        </pc:cxnChg>
        <pc:cxnChg chg="mod ord">
          <ac:chgData name="Yiqun Dai" userId="360a2182-b97f-4635-b990-04f846616e33" providerId="ADAL" clId="{8F04EA49-0EFC-48F3-A4D8-E0F0D3B461A8}" dt="2025-11-09T07:09:00.403" v="282953"/>
          <ac:cxnSpMkLst>
            <pc:docMk/>
            <pc:sldMk cId="3643436976" sldId="2147483079"/>
            <ac:cxnSpMk id="176" creationId="{DA362408-D075-4A20-6545-487AB4E7D63A}"/>
          </ac:cxnSpMkLst>
        </pc:cxnChg>
        <pc:cxnChg chg="mod ord">
          <ac:chgData name="Yiqun Dai" userId="360a2182-b97f-4635-b990-04f846616e33" providerId="ADAL" clId="{8F04EA49-0EFC-48F3-A4D8-E0F0D3B461A8}" dt="2025-11-09T07:09:00.403" v="282955"/>
          <ac:cxnSpMkLst>
            <pc:docMk/>
            <pc:sldMk cId="3643436976" sldId="2147483079"/>
            <ac:cxnSpMk id="178" creationId="{F53C3740-50A0-C913-EB10-F57942B9DD43}"/>
          </ac:cxnSpMkLst>
        </pc:cxnChg>
      </pc:sldChg>
      <pc:sldMasterChg chg="del delSldLayout">
        <pc:chgData name="Yiqun Dai" userId="360a2182-b97f-4635-b990-04f846616e33" providerId="ADAL" clId="{8F04EA49-0EFC-48F3-A4D8-E0F0D3B461A8}" dt="2025-11-10T02:46:26.477" v="282994" actId="47"/>
        <pc:sldMasterMkLst>
          <pc:docMk/>
          <pc:sldMasterMk cId="1676383472" sldId="2147483923"/>
        </pc:sldMasterMkLst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3442319104" sldId="2147483924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2008465220" sldId="2147483925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3502194382" sldId="2147483926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1305600625" sldId="2147483927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2039945654" sldId="2147483928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1681176645" sldId="2147483929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3094489166" sldId="2147483930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3605956071" sldId="2147483931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2446065530" sldId="2147483932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2577297291" sldId="2147483933"/>
          </pc:sldLayoutMkLst>
        </pc:sldLayoutChg>
        <pc:sldLayoutChg chg="del">
          <pc:chgData name="Yiqun Dai" userId="360a2182-b97f-4635-b990-04f846616e33" providerId="ADAL" clId="{8F04EA49-0EFC-48F3-A4D8-E0F0D3B461A8}" dt="2025-11-10T02:46:26.477" v="282994" actId="47"/>
          <pc:sldLayoutMkLst>
            <pc:docMk/>
            <pc:sldMasterMk cId="1676383472" sldId="2147483923"/>
            <pc:sldLayoutMk cId="4166658029" sldId="2147483934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32730560578659E-3"/>
          <c:y val="2.7310924369747899E-2"/>
          <c:w val="0.98553345388788427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2A2-4163-8C98-3869D0C2A6B2}"/>
              </c:ext>
            </c:extLst>
          </c:dPt>
          <c:dPt>
            <c:idx val="15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2A2-4163-8C98-3869D0C2A6B2}"/>
              </c:ext>
            </c:extLst>
          </c:dPt>
          <c:val>
            <c:numRef>
              <c:f>Sheet1!$A$1:$P$1</c:f>
              <c:numCache>
                <c:formatCode>General</c:formatCode>
                <c:ptCount val="16"/>
                <c:pt idx="0">
                  <c:v>12663528030.797234</c:v>
                </c:pt>
                <c:pt idx="1">
                  <c:v>12663528030.797234</c:v>
                </c:pt>
                <c:pt idx="2">
                  <c:v>13020797486.5019</c:v>
                </c:pt>
                <c:pt idx="3">
                  <c:v>13092452311.66456</c:v>
                </c:pt>
                <c:pt idx="4">
                  <c:v>13076237351.346096</c:v>
                </c:pt>
                <c:pt idx="5">
                  <c:v>13076237351.346098</c:v>
                </c:pt>
                <c:pt idx="6">
                  <c:v>13094447661.243706</c:v>
                </c:pt>
                <c:pt idx="7">
                  <c:v>13104019436.527075</c:v>
                </c:pt>
                <c:pt idx="8">
                  <c:v>13114940461.219002</c:v>
                </c:pt>
                <c:pt idx="9">
                  <c:v>13122661123.131004</c:v>
                </c:pt>
                <c:pt idx="10">
                  <c:v>13140694563.691994</c:v>
                </c:pt>
                <c:pt idx="11">
                  <c:v>13232880294.809275</c:v>
                </c:pt>
                <c:pt idx="12">
                  <c:v>13280946365.107674</c:v>
                </c:pt>
                <c:pt idx="13">
                  <c:v>13380112646.285286</c:v>
                </c:pt>
                <c:pt idx="14">
                  <c:v>13375453526.385437</c:v>
                </c:pt>
                <c:pt idx="15">
                  <c:v>13375453526.3854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A2-4163-8C98-3869D0C2A6B2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413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2A2-4163-8C98-3869D0C2A6B2}"/>
              </c:ext>
            </c:extLst>
          </c:dPt>
          <c:dPt>
            <c:idx val="4"/>
            <c:invertIfNegative val="0"/>
            <c:bubble3D val="0"/>
            <c:spPr>
              <a:solidFill>
                <a:srgbClr val="C413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2A2-4163-8C98-3869D0C2A6B2}"/>
              </c:ext>
            </c:extLst>
          </c:dPt>
          <c:dPt>
            <c:idx val="14"/>
            <c:invertIfNegative val="0"/>
            <c:bubble3D val="0"/>
            <c:spPr>
              <a:solidFill>
                <a:srgbClr val="C413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2A2-4163-8C98-3869D0C2A6B2}"/>
              </c:ext>
            </c:extLst>
          </c:dPt>
          <c:val>
            <c:numRef>
              <c:f>Sheet1!$A$2:$P$2</c:f>
              <c:numCache>
                <c:formatCode>General</c:formatCode>
                <c:ptCount val="16"/>
                <c:pt idx="1">
                  <c:v>357269455.70466614</c:v>
                </c:pt>
                <c:pt idx="2">
                  <c:v>116620278.23138809</c:v>
                </c:pt>
                <c:pt idx="3">
                  <c:v>44965453.068729401</c:v>
                </c:pt>
                <c:pt idx="4">
                  <c:v>16214960.318458557</c:v>
                </c:pt>
                <c:pt idx="5">
                  <c:v>18210309.897611618</c:v>
                </c:pt>
                <c:pt idx="6">
                  <c:v>9571775.283367157</c:v>
                </c:pt>
                <c:pt idx="7">
                  <c:v>10921024.691925049</c:v>
                </c:pt>
                <c:pt idx="8">
                  <c:v>7720661.9120006561</c:v>
                </c:pt>
                <c:pt idx="9">
                  <c:v>18033440.561000824</c:v>
                </c:pt>
                <c:pt idx="10">
                  <c:v>92185731.117269516</c:v>
                </c:pt>
                <c:pt idx="11">
                  <c:v>48066070.298410416</c:v>
                </c:pt>
                <c:pt idx="12">
                  <c:v>99166281.177600861</c:v>
                </c:pt>
                <c:pt idx="13">
                  <c:v>26991870.107999802</c:v>
                </c:pt>
                <c:pt idx="14">
                  <c:v>31650990.007839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2A2-4163-8C98-3869D0C2A6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20603903"/>
        <c:axId val="1"/>
      </c:barChart>
      <c:catAx>
        <c:axId val="7206039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407104516.393286"/>
          <c:min val="1250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7206039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44508670520228E-3"/>
          <c:y val="2.8477546549835708E-2"/>
          <c:w val="0.98497109826589591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174-42B2-A343-409B5744D0E5}"/>
              </c:ext>
            </c:extLst>
          </c:dPt>
          <c:dPt>
            <c:idx val="9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174-42B2-A343-409B5744D0E5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587662359.68864095</c:v>
                </c:pt>
                <c:pt idx="1">
                  <c:v>587546947.41271079</c:v>
                </c:pt>
                <c:pt idx="2">
                  <c:v>592318113.34269893</c:v>
                </c:pt>
                <c:pt idx="3">
                  <c:v>574124569.37330067</c:v>
                </c:pt>
                <c:pt idx="4">
                  <c:v>576827017.66108572</c:v>
                </c:pt>
                <c:pt idx="7">
                  <c:v>575242806.92516053</c:v>
                </c:pt>
                <c:pt idx="8">
                  <c:v>582354177.80146682</c:v>
                </c:pt>
                <c:pt idx="9">
                  <c:v>589911291.25561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74-42B2-A343-409B5744D0E5}"/>
            </c:ext>
          </c:extLst>
        </c:ser>
        <c:ser>
          <c:idx val="1"/>
          <c:order val="1"/>
          <c:spPr>
            <a:solidFill>
              <a:srgbClr val="5395F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174-42B2-A343-409B5744D0E5}"/>
              </c:ext>
            </c:extLst>
          </c:dPt>
          <c:dPt>
            <c:idx val="3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174-42B2-A343-409B5744D0E5}"/>
              </c:ext>
            </c:extLst>
          </c:dPt>
          <c:dPt>
            <c:idx val="7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174-42B2-A343-409B5744D0E5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1">
                  <c:v>115412.27593016624</c:v>
                </c:pt>
                <c:pt idx="2">
                  <c:v>4208767.9535079002</c:v>
                </c:pt>
                <c:pt idx="3">
                  <c:v>23038789.653306365</c:v>
                </c:pt>
                <c:pt idx="4">
                  <c:v>11449441.00573504</c:v>
                </c:pt>
                <c:pt idx="7">
                  <c:v>31740074.474795222</c:v>
                </c:pt>
                <c:pt idx="8">
                  <c:v>2218142.7925529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174-42B2-A343-409B5744D0E5}"/>
            </c:ext>
          </c:extLst>
        </c:ser>
        <c:ser>
          <c:idx val="2"/>
          <c:order val="2"/>
          <c:spPr>
            <a:solidFill>
              <a:srgbClr val="CF80B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0174-42B2-A343-409B5744D0E5}"/>
              </c:ext>
            </c:extLst>
          </c:dPt>
          <c:dPt>
            <c:idx val="3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0174-42B2-A343-409B5744D0E5}"/>
              </c:ext>
            </c:extLst>
          </c:dPt>
          <c:dPt>
            <c:idx val="7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0174-42B2-A343-409B5744D0E5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1">
                  <c:v>4771165.9299881458</c:v>
                </c:pt>
                <c:pt idx="2">
                  <c:v>636477.73040008545</c:v>
                </c:pt>
                <c:pt idx="3">
                  <c:v>14151889.293520093</c:v>
                </c:pt>
                <c:pt idx="4">
                  <c:v>30155863.738870144</c:v>
                </c:pt>
                <c:pt idx="7">
                  <c:v>7111370.8763062954</c:v>
                </c:pt>
                <c:pt idx="8">
                  <c:v>5338970.66159999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174-42B2-A343-409B5744D0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6189167"/>
        <c:axId val="1"/>
      </c:barChart>
      <c:catAx>
        <c:axId val="3261891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18432322.40569091"/>
          <c:min val="57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3261891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44508670520228E-3"/>
          <c:y val="2.8477546549835708E-2"/>
          <c:w val="0.98497109826589591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C55-4A1A-AB06-99408A4E9095}"/>
              </c:ext>
            </c:extLst>
          </c:dPt>
          <c:dPt>
            <c:idx val="9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C55-4A1A-AB06-99408A4E9095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300632761.813066</c:v>
                </c:pt>
                <c:pt idx="1">
                  <c:v>1300632761.813066</c:v>
                </c:pt>
                <c:pt idx="2">
                  <c:v>1300632761.8130655</c:v>
                </c:pt>
                <c:pt idx="3">
                  <c:v>1188120089.0993812</c:v>
                </c:pt>
                <c:pt idx="4">
                  <c:v>1122976201.8613145</c:v>
                </c:pt>
                <c:pt idx="5">
                  <c:v>1282643763.8984694</c:v>
                </c:pt>
                <c:pt idx="6">
                  <c:v>1300433027.6402066</c:v>
                </c:pt>
                <c:pt idx="7">
                  <c:v>1303964237.8951616</c:v>
                </c:pt>
                <c:pt idx="8">
                  <c:v>1318732031.5368092</c:v>
                </c:pt>
                <c:pt idx="9">
                  <c:v>1324120601.91113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55-4A1A-AB06-99408A4E9095}"/>
            </c:ext>
          </c:extLst>
        </c:ser>
        <c:ser>
          <c:idx val="1"/>
          <c:order val="1"/>
          <c:spPr>
            <a:solidFill>
              <a:srgbClr val="CF80B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C55-4A1A-AB06-99408A4E9095}"/>
              </c:ext>
            </c:extLst>
          </c:dPt>
          <c:dPt>
            <c:idx val="2"/>
            <c:invertIfNegative val="0"/>
            <c:bubble3D val="0"/>
            <c:spPr>
              <a:solidFill>
                <a:srgbClr val="539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C55-4A1A-AB06-99408A4E9095}"/>
              </c:ext>
            </c:extLst>
          </c:dPt>
          <c:dPt>
            <c:idx val="3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C55-4A1A-AB06-99408A4E9095}"/>
              </c:ext>
            </c:extLst>
          </c:dPt>
          <c:dPt>
            <c:idx val="5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C55-4A1A-AB06-99408A4E9095}"/>
              </c:ext>
            </c:extLst>
          </c:dPt>
          <c:dPt>
            <c:idx val="7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C55-4A1A-AB06-99408A4E9095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1">
                  <c:v>0</c:v>
                </c:pt>
                <c:pt idx="2">
                  <c:v>0</c:v>
                </c:pt>
                <c:pt idx="3">
                  <c:v>112512672.71368456</c:v>
                </c:pt>
                <c:pt idx="4">
                  <c:v>151559879.56797981</c:v>
                </c:pt>
                <c:pt idx="5">
                  <c:v>3863821.6603748798</c:v>
                </c:pt>
                <c:pt idx="6">
                  <c:v>26189541.585600138</c:v>
                </c:pt>
                <c:pt idx="7">
                  <c:v>22854116.577950001</c:v>
                </c:pt>
                <c:pt idx="8">
                  <c:v>8164834.4643399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C55-4A1A-AB06-99408A4E9095}"/>
            </c:ext>
          </c:extLst>
        </c:ser>
        <c:ser>
          <c:idx val="2"/>
          <c:order val="2"/>
          <c:spPr>
            <a:solidFill>
              <a:srgbClr val="703E97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CF80B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C55-4A1A-AB06-99408A4E9095}"/>
              </c:ext>
            </c:extLst>
          </c:dPt>
          <c:dPt>
            <c:idx val="4"/>
            <c:invertIfNegative val="0"/>
            <c:bubble3D val="0"/>
            <c:spPr>
              <a:solidFill>
                <a:srgbClr val="539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AC55-4A1A-AB06-99408A4E9095}"/>
              </c:ext>
            </c:extLst>
          </c:dPt>
          <c:dPt>
            <c:idx val="6"/>
            <c:invertIfNegative val="0"/>
            <c:bubble3D val="0"/>
            <c:spPr>
              <a:solidFill>
                <a:srgbClr val="539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AC55-4A1A-AB06-99408A4E9095}"/>
              </c:ext>
            </c:extLst>
          </c:dPt>
          <c:dPt>
            <c:idx val="7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AC55-4A1A-AB06-99408A4E9095}"/>
              </c:ext>
            </c:extLst>
          </c:dPt>
          <c:dPt>
            <c:idx val="8"/>
            <c:invertIfNegative val="0"/>
            <c:bubble3D val="0"/>
            <c:spPr>
              <a:solidFill>
                <a:srgbClr val="539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AC55-4A1A-AB06-99408A4E9095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1">
                  <c:v>0</c:v>
                </c:pt>
                <c:pt idx="2">
                  <c:v>0</c:v>
                </c:pt>
                <c:pt idx="3">
                  <c:v>86415992.329913139</c:v>
                </c:pt>
                <c:pt idx="4">
                  <c:v>159667562.03715539</c:v>
                </c:pt>
                <c:pt idx="5">
                  <c:v>40114983.666962385</c:v>
                </c:pt>
                <c:pt idx="6">
                  <c:v>26385326.832904816</c:v>
                </c:pt>
                <c:pt idx="7">
                  <c:v>22932628.105988264</c:v>
                </c:pt>
                <c:pt idx="8">
                  <c:v>5388570.374327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C55-4A1A-AB06-99408A4E9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11014720"/>
        <c:axId val="1"/>
      </c:barChart>
      <c:catAx>
        <c:axId val="1411014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34203643.4664497"/>
          <c:min val="110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1411014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575106335348102E-2"/>
          <c:y val="3.9943938332165384E-2"/>
          <c:w val="0.85918961271546901"/>
          <c:h val="0.85529081990189204"/>
        </c:manualLayout>
      </c:layout>
      <c:bubbleChart>
        <c:varyColors val="0"/>
        <c:ser>
          <c:idx val="0"/>
          <c:order val="0"/>
          <c:spPr>
            <a:solidFill>
              <a:srgbClr val="B78FCA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11</c:f>
              <c:numCache>
                <c:formatCode>General</c:formatCode>
                <c:ptCount val="11"/>
                <c:pt idx="0">
                  <c:v>5.8714698260805109</c:v>
                </c:pt>
              </c:numCache>
            </c:numRef>
          </c:xVal>
          <c:yVal>
            <c:numRef>
              <c:f>Sheet1!$B$1:$B$11</c:f>
              <c:numCache>
                <c:formatCode>General</c:formatCode>
                <c:ptCount val="11"/>
                <c:pt idx="0">
                  <c:v>-0.15068049180620435</c:v>
                </c:pt>
              </c:numCache>
            </c:numRef>
          </c:yVal>
          <c:bubbleSize>
            <c:numRef>
              <c:f>Sheet1!$C$1:$C$11</c:f>
              <c:numCache>
                <c:formatCode>General</c:formatCode>
                <c:ptCount val="11"/>
                <c:pt idx="0">
                  <c:v>7.587742995671440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2A67-42BB-9034-0567C23ED5A4}"/>
            </c:ext>
          </c:extLst>
        </c:ser>
        <c:ser>
          <c:idx val="1"/>
          <c:order val="1"/>
          <c:spPr>
            <a:solidFill>
              <a:srgbClr val="703E97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11</c:f>
              <c:numCache>
                <c:formatCode>General</c:formatCode>
                <c:ptCount val="11"/>
                <c:pt idx="1">
                  <c:v>-6.3994107760778078</c:v>
                </c:pt>
                <c:pt idx="2">
                  <c:v>-7.1152634561429728</c:v>
                </c:pt>
              </c:numCache>
            </c:numRef>
          </c:xVal>
          <c:yVal>
            <c:numRef>
              <c:f>Sheet1!$D$1:$D$11</c:f>
              <c:numCache>
                <c:formatCode>General</c:formatCode>
                <c:ptCount val="11"/>
                <c:pt idx="1">
                  <c:v>-0.20392991016274162</c:v>
                </c:pt>
                <c:pt idx="2">
                  <c:v>-1.2741410284035242</c:v>
                </c:pt>
              </c:numCache>
            </c:numRef>
          </c:yVal>
          <c:bubbleSize>
            <c:numRef>
              <c:f>Sheet1!$E$1:$E$11</c:f>
              <c:numCache>
                <c:formatCode>General</c:formatCode>
                <c:ptCount val="11"/>
                <c:pt idx="1">
                  <c:v>4.8013769457163598</c:v>
                </c:pt>
                <c:pt idx="2">
                  <c:v>4.412830176341937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2A67-42BB-9034-0567C23ED5A4}"/>
            </c:ext>
          </c:extLst>
        </c:ser>
        <c:ser>
          <c:idx val="2"/>
          <c:order val="2"/>
          <c:spPr>
            <a:solidFill>
              <a:srgbClr val="2A276E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B78FCA"/>
              </a:solidFill>
              <a:ln w="3175" cmpd="sng" algn="ctr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2A67-42BB-9034-0567C23ED5A4}"/>
              </c:ext>
            </c:extLst>
          </c:dPt>
          <c:xVal>
            <c:numRef>
              <c:f>Sheet1!$A$1:$A$11</c:f>
              <c:numCache>
                <c:formatCode>General</c:formatCode>
                <c:ptCount val="11"/>
                <c:pt idx="3">
                  <c:v>0.52058426863594853</c:v>
                </c:pt>
                <c:pt idx="4">
                  <c:v>24.674283327544288</c:v>
                </c:pt>
                <c:pt idx="5">
                  <c:v>65.840976385975395</c:v>
                </c:pt>
                <c:pt idx="6">
                  <c:v>25.535171027988348</c:v>
                </c:pt>
                <c:pt idx="7">
                  <c:v>11.195364015688414</c:v>
                </c:pt>
              </c:numCache>
            </c:numRef>
          </c:xVal>
          <c:yVal>
            <c:numRef>
              <c:f>Sheet1!$F$1:$F$11</c:f>
              <c:numCache>
                <c:formatCode>General</c:formatCode>
                <c:ptCount val="11"/>
                <c:pt idx="3">
                  <c:v>-9.4518012263145046E-2</c:v>
                </c:pt>
                <c:pt idx="4">
                  <c:v>0.19121721756404225</c:v>
                </c:pt>
                <c:pt idx="5">
                  <c:v>0.75321467973645673</c:v>
                </c:pt>
                <c:pt idx="6">
                  <c:v>5.5301094759241214E-2</c:v>
                </c:pt>
                <c:pt idx="7">
                  <c:v>8.0992304802773335E-2</c:v>
                </c:pt>
              </c:numCache>
            </c:numRef>
          </c:yVal>
          <c:bubbleSize>
            <c:numRef>
              <c:f>Sheet1!$G$1:$G$11</c:f>
              <c:numCache>
                <c:formatCode>General</c:formatCode>
                <c:ptCount val="11"/>
                <c:pt idx="3">
                  <c:v>9.6971641165993603</c:v>
                </c:pt>
                <c:pt idx="4">
                  <c:v>4.3215408242261528</c:v>
                </c:pt>
                <c:pt idx="5">
                  <c:v>2.385696533466525</c:v>
                </c:pt>
                <c:pt idx="6">
                  <c:v>0.66301122099647303</c:v>
                </c:pt>
                <c:pt idx="7">
                  <c:v>1.202919352082929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2A67-42BB-9034-0567C23ED5A4}"/>
            </c:ext>
          </c:extLst>
        </c:ser>
        <c:ser>
          <c:idx val="3"/>
          <c:order val="3"/>
          <c:spPr>
            <a:solidFill>
              <a:srgbClr val="B78FCA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11</c:f>
              <c:numCache>
                <c:formatCode>General</c:formatCode>
                <c:ptCount val="11"/>
                <c:pt idx="8">
                  <c:v>4.2879049736060493</c:v>
                </c:pt>
                <c:pt idx="9">
                  <c:v>5.6233163123143193</c:v>
                </c:pt>
                <c:pt idx="10">
                  <c:v>6.1801827829794487</c:v>
                </c:pt>
              </c:numCache>
            </c:numRef>
          </c:xVal>
          <c:yVal>
            <c:numRef>
              <c:f>Sheet1!$H$1:$H$11</c:f>
              <c:numCache>
                <c:formatCode>General</c:formatCode>
                <c:ptCount val="11"/>
                <c:pt idx="8">
                  <c:v>-1.1921793859259733E-2</c:v>
                </c:pt>
                <c:pt idx="9">
                  <c:v>-0.26383918472292212</c:v>
                </c:pt>
                <c:pt idx="10">
                  <c:v>-0.10795657074578885</c:v>
                </c:pt>
              </c:numCache>
            </c:numRef>
          </c:yVal>
          <c:bubbleSize>
            <c:numRef>
              <c:f>Sheet1!$I$1:$I$11</c:f>
              <c:numCache>
                <c:formatCode>General</c:formatCode>
                <c:ptCount val="11"/>
                <c:pt idx="8">
                  <c:v>2.2344361603615104</c:v>
                </c:pt>
                <c:pt idx="9">
                  <c:v>1.6263613457368979</c:v>
                </c:pt>
                <c:pt idx="10">
                  <c:v>0.5928522674975570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2A67-42BB-9034-0567C23ED5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94"/>
        <c:showNegBubbles val="0"/>
        <c:axId val="1582515600"/>
        <c:axId val="1"/>
      </c:bubbleChart>
      <c:valAx>
        <c:axId val="1582515600"/>
        <c:scaling>
          <c:orientation val="minMax"/>
          <c:max val="70"/>
          <c:min val="-1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rgbClr val="808080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1"/>
          <c:min val="-1.5"/>
        </c:scaling>
        <c:delete val="0"/>
        <c:axPos val="l"/>
        <c:majorGridlines>
          <c:spPr>
            <a:ln>
              <a:noFill/>
            </a:ln>
          </c:spPr>
        </c:majorGridlines>
        <c:numFmt formatCode="#,##0.0&quot;%&quot;;&quot;-&quot;#,##0.0&quot;%&quot;" sourceLinked="0"/>
        <c:majorTickMark val="out"/>
        <c:minorTickMark val="none"/>
        <c:tickLblPos val="nextTo"/>
        <c:spPr>
          <a:ln w="9525" cmpd="sng" algn="ctr">
            <a:solidFill>
              <a:srgbClr val="808080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582515600"/>
        <c:crosses val="min"/>
        <c:crossBetween val="midCat"/>
        <c:majorUnit val="0.5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74294837679615E-2"/>
          <c:y val="2.7310924369747899E-2"/>
          <c:w val="0.94465141032464073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8804588083</c:v>
                </c:pt>
                <c:pt idx="1">
                  <c:v>9278477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BC-490D-882A-F585E8C75C99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483076300</c:v>
                </c:pt>
                <c:pt idx="1">
                  <c:v>1490796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BC-490D-882A-F585E8C75C99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930539704</c:v>
                </c:pt>
                <c:pt idx="1">
                  <c:v>869359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BC-490D-882A-F585E8C75C99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496199088</c:v>
                </c:pt>
                <c:pt idx="1">
                  <c:v>52449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BC-490D-882A-F585E8C75C99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524225412</c:v>
                </c:pt>
                <c:pt idx="1">
                  <c:v>715577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BC-490D-882A-F585E8C75C99}"/>
            </c:ext>
          </c:extLst>
        </c:ser>
        <c:ser>
          <c:idx val="5"/>
          <c:order val="5"/>
          <c:spPr>
            <a:solidFill>
              <a:srgbClr val="BFBFBF"/>
            </a:solidFill>
            <a:ln>
              <a:noFill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1616296</c:v>
                </c:pt>
                <c:pt idx="1">
                  <c:v>28608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BC-490D-882A-F585E8C75C99}"/>
            </c:ext>
          </c:extLst>
        </c:ser>
        <c:ser>
          <c:idx val="6"/>
          <c:order val="6"/>
          <c:spPr>
            <a:solidFill>
              <a:srgbClr val="005FFF"/>
            </a:solidFill>
            <a:ln>
              <a:noFill/>
            </a:ln>
          </c:spPr>
          <c:invertIfNegative val="0"/>
          <c:val>
            <c:numRef>
              <c:f>Sheet1!$A$7:$B$7</c:f>
              <c:numCache>
                <c:formatCode>General</c:formatCode>
                <c:ptCount val="2"/>
                <c:pt idx="0">
                  <c:v>285784297</c:v>
                </c:pt>
                <c:pt idx="1">
                  <c:v>3447713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BC-490D-882A-F585E8C75C99}"/>
            </c:ext>
          </c:extLst>
        </c:ser>
        <c:ser>
          <c:idx val="7"/>
          <c:order val="7"/>
          <c:spPr>
            <a:solidFill>
              <a:srgbClr val="5395FF"/>
            </a:solidFill>
            <a:ln>
              <a:noFill/>
            </a:ln>
          </c:spPr>
          <c:invertIfNegative val="0"/>
          <c:val>
            <c:numRef>
              <c:f>Sheet1!$A$8:$B$8</c:f>
              <c:numCache>
                <c:formatCode>General</c:formatCode>
                <c:ptCount val="2"/>
                <c:pt idx="0">
                  <c:v>137498850</c:v>
                </c:pt>
                <c:pt idx="1">
                  <c:v>123365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8BC-490D-882A-F585E8C75C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6238847"/>
        <c:axId val="1"/>
      </c:barChart>
      <c:catAx>
        <c:axId val="296238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2388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59574468085105E-2"/>
          <c:y val="2.7310924369747899E-2"/>
          <c:w val="0.94468085106382982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795952964</c:v>
                </c:pt>
                <c:pt idx="1">
                  <c:v>1084347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C0-4D24-B503-8E2E377F2B21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4590329671</c:v>
                </c:pt>
                <c:pt idx="1">
                  <c:v>4677682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C0-4D24-B503-8E2E377F2B21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529006592</c:v>
                </c:pt>
                <c:pt idx="1">
                  <c:v>2499281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C0-4D24-B503-8E2E377F2B21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376437804</c:v>
                </c:pt>
                <c:pt idx="1">
                  <c:v>1441156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0C0-4D24-B503-8E2E377F2B21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3371801000</c:v>
                </c:pt>
                <c:pt idx="1">
                  <c:v>3672984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C0-4D24-B503-8E2E377F2B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06345168"/>
        <c:axId val="1"/>
      </c:barChart>
      <c:catAx>
        <c:axId val="1906345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06345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74294837679615E-2"/>
          <c:y val="2.7310924369747899E-2"/>
          <c:w val="0.94465141032464073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8804588083</c:v>
                </c:pt>
                <c:pt idx="1">
                  <c:v>9278477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72-4EB8-807B-9084F009B070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506803520</c:v>
                </c:pt>
                <c:pt idx="1">
                  <c:v>1484326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72-4EB8-807B-9084F009B070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483076300</c:v>
                </c:pt>
                <c:pt idx="1">
                  <c:v>1508830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72-4EB8-807B-9084F009B070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712460181</c:v>
                </c:pt>
                <c:pt idx="1">
                  <c:v>951878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72-4EB8-807B-9084F009B070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616296</c:v>
                </c:pt>
                <c:pt idx="1">
                  <c:v>28608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72-4EB8-807B-9084F009B070}"/>
            </c:ext>
          </c:extLst>
        </c:ser>
        <c:ser>
          <c:idx val="5"/>
          <c:order val="5"/>
          <c:spPr>
            <a:solidFill>
              <a:srgbClr val="BFBFBF"/>
            </a:solidFill>
            <a:ln>
              <a:noFill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154983650</c:v>
                </c:pt>
                <c:pt idx="1">
                  <c:v>123332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672-4EB8-807B-9084F009B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97021663"/>
        <c:axId val="1"/>
      </c:barChart>
      <c:catAx>
        <c:axId val="5970216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970216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59574468085105E-2"/>
          <c:y val="2.7310924369747899E-2"/>
          <c:w val="0.94468085106382982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708957915</c:v>
                </c:pt>
                <c:pt idx="1">
                  <c:v>3741528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A9-4D14-9355-BD17C13D846B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795952964</c:v>
                </c:pt>
                <c:pt idx="1">
                  <c:v>1084347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A9-4D14-9355-BD17C13D846B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4590329671</c:v>
                </c:pt>
                <c:pt idx="1">
                  <c:v>4677682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A9-4D14-9355-BD17C13D846B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2092538844</c:v>
                </c:pt>
                <c:pt idx="1">
                  <c:v>23052025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A9-4D14-9355-BD17C13D846B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209895352</c:v>
                </c:pt>
                <c:pt idx="1">
                  <c:v>1336646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A9-4D14-9355-BD17C13D846B}"/>
            </c:ext>
          </c:extLst>
        </c:ser>
        <c:ser>
          <c:idx val="5"/>
          <c:order val="5"/>
          <c:spPr>
            <a:solidFill>
              <a:srgbClr val="BFBFBF"/>
            </a:solidFill>
            <a:ln>
              <a:noFill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3265853284</c:v>
                </c:pt>
                <c:pt idx="1">
                  <c:v>3597421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7A9-4D14-9355-BD17C13D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4304031"/>
        <c:axId val="1"/>
      </c:barChart>
      <c:catAx>
        <c:axId val="614304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43040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74294837679615E-2"/>
          <c:y val="2.7310924369747899E-2"/>
          <c:w val="0.94465141032464073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9950931172</c:v>
                </c:pt>
                <c:pt idx="1">
                  <c:v>10738962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C0-4C41-8AA1-98BC8A4335C7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100409587</c:v>
                </c:pt>
                <c:pt idx="1">
                  <c:v>105998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C0-4C41-8AA1-98BC8A4335C7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1570636</c:v>
                </c:pt>
                <c:pt idx="1">
                  <c:v>28093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C0-4C41-8AA1-98BC8A4335C7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703713906</c:v>
                </c:pt>
                <c:pt idx="1">
                  <c:v>989124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EC0-4C41-8AA1-98BC8A4335C7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896902730</c:v>
                </c:pt>
                <c:pt idx="1">
                  <c:v>559289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EC0-4C41-8AA1-98BC8A433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5976047"/>
        <c:axId val="1"/>
      </c:barChart>
      <c:catAx>
        <c:axId val="3259760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59760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59574468085105E-2"/>
          <c:y val="2.7310924369747899E-2"/>
          <c:w val="0.94468085106382982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4445178</c:v>
                </c:pt>
                <c:pt idx="1">
                  <c:v>156568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3E-4A79-8A88-04799448C630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797319370</c:v>
                </c:pt>
                <c:pt idx="1">
                  <c:v>1987069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3E-4A79-8A88-04799448C630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278645711</c:v>
                </c:pt>
                <c:pt idx="1">
                  <c:v>24119290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3E-4A79-8A88-04799448C630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2801538346</c:v>
                </c:pt>
                <c:pt idx="1">
                  <c:v>31829700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3E-4A79-8A88-04799448C630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3028982567</c:v>
                </c:pt>
                <c:pt idx="1">
                  <c:v>3141337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3E-4A79-8A88-04799448C6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82239807"/>
        <c:axId val="1"/>
      </c:barChart>
      <c:catAx>
        <c:axId val="6822398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73896271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822398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44508670520228E-3"/>
          <c:y val="2.8477546549835708E-2"/>
          <c:w val="0.98497109826589591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ACF-4F2B-9F7C-A41CDBDC3859}"/>
              </c:ext>
            </c:extLst>
          </c:dPt>
          <c:dPt>
            <c:idx val="9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ACF-4F2B-9F7C-A41CDBDC3859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5551011009.8779278</c:v>
                </c:pt>
                <c:pt idx="1">
                  <c:v>5551011009.8779278</c:v>
                </c:pt>
                <c:pt idx="2">
                  <c:v>5399417071.5339785</c:v>
                </c:pt>
                <c:pt idx="3">
                  <c:v>5711716910.5238543</c:v>
                </c:pt>
                <c:pt idx="4">
                  <c:v>5826411163.7035532</c:v>
                </c:pt>
                <c:pt idx="5">
                  <c:v>5856972032.3240786</c:v>
                </c:pt>
                <c:pt idx="6">
                  <c:v>5994592800.0329657</c:v>
                </c:pt>
                <c:pt idx="7">
                  <c:v>5856387829.6675549</c:v>
                </c:pt>
                <c:pt idx="8">
                  <c:v>5842543592.2313747</c:v>
                </c:pt>
                <c:pt idx="9">
                  <c:v>5891092266.7591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CF-4F2B-9F7C-A41CDBDC3859}"/>
            </c:ext>
          </c:extLst>
        </c:ser>
        <c:ser>
          <c:idx val="1"/>
          <c:order val="1"/>
          <c:spPr>
            <a:solidFill>
              <a:srgbClr val="CF80B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ACF-4F2B-9F7C-A41CDBDC3859}"/>
              </c:ext>
            </c:extLst>
          </c:dPt>
          <c:dPt>
            <c:idx val="3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ACF-4F2B-9F7C-A41CDBDC3859}"/>
              </c:ext>
            </c:extLst>
          </c:dPt>
          <c:dPt>
            <c:idx val="5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ACF-4F2B-9F7C-A41CDBDC3859}"/>
              </c:ext>
            </c:extLst>
          </c:dPt>
          <c:dPt>
            <c:idx val="7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CACF-4F2B-9F7C-A41CDBDC3859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1">
                  <c:v>5008697.2433137894</c:v>
                </c:pt>
                <c:pt idx="2">
                  <c:v>427413475.95143318</c:v>
                </c:pt>
                <c:pt idx="3">
                  <c:v>80975934.144985199</c:v>
                </c:pt>
                <c:pt idx="4">
                  <c:v>70468858.876041412</c:v>
                </c:pt>
                <c:pt idx="5">
                  <c:v>24189967.895305634</c:v>
                </c:pt>
                <c:pt idx="6">
                  <c:v>1573254.9774999619</c:v>
                </c:pt>
                <c:pt idx="7">
                  <c:v>139257428.8365984</c:v>
                </c:pt>
                <c:pt idx="8">
                  <c:v>16954785.914099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ACF-4F2B-9F7C-A41CDBDC3859}"/>
            </c:ext>
          </c:extLst>
        </c:ser>
        <c:ser>
          <c:idx val="2"/>
          <c:order val="2"/>
          <c:spPr>
            <a:solidFill>
              <a:srgbClr val="5395F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CACF-4F2B-9F7C-A41CDBDC3859}"/>
              </c:ext>
            </c:extLst>
          </c:dPt>
          <c:dPt>
            <c:idx val="3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CACF-4F2B-9F7C-A41CDBDC3859}"/>
              </c:ext>
            </c:extLst>
          </c:dPt>
          <c:dPt>
            <c:idx val="5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CACF-4F2B-9F7C-A41CDBDC3859}"/>
              </c:ext>
            </c:extLst>
          </c:dPt>
          <c:dPt>
            <c:idx val="7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CACF-4F2B-9F7C-A41CDBDC3859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1">
                  <c:v>270810840.36417103</c:v>
                </c:pt>
                <c:pt idx="2">
                  <c:v>393275773.13486099</c:v>
                </c:pt>
                <c:pt idx="3">
                  <c:v>185163112.05574036</c:v>
                </c:pt>
                <c:pt idx="4">
                  <c:v>54750836.515831947</c:v>
                </c:pt>
                <c:pt idx="5">
                  <c:v>139194022.68638611</c:v>
                </c:pt>
                <c:pt idx="6">
                  <c:v>1052458.4711894989</c:v>
                </c:pt>
                <c:pt idx="7">
                  <c:v>3110548.4779186249</c:v>
                </c:pt>
                <c:pt idx="8">
                  <c:v>48548674.5277414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ACF-4F2B-9F7C-A41CDBDC38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6955392"/>
        <c:axId val="1"/>
      </c:barChart>
      <c:catAx>
        <c:axId val="386955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220106320.6202726"/>
          <c:min val="530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386955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44508670520228E-3"/>
          <c:y val="2.8477546549835708E-2"/>
          <c:w val="0.98497109826589591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E2C-491A-93A6-6FBDDB3ED089}"/>
              </c:ext>
            </c:extLst>
          </c:dPt>
          <c:dPt>
            <c:idx val="9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E2C-491A-93A6-6FBDDB3ED089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2475452995.6418805</c:v>
                </c:pt>
                <c:pt idx="1">
                  <c:v>2475452995.6418805</c:v>
                </c:pt>
                <c:pt idx="2">
                  <c:v>2427635923.1076393</c:v>
                </c:pt>
                <c:pt idx="3">
                  <c:v>2517450373.2580271</c:v>
                </c:pt>
                <c:pt idx="4">
                  <c:v>2561838386.3478308</c:v>
                </c:pt>
                <c:pt idx="5">
                  <c:v>2577648636.3242149</c:v>
                </c:pt>
                <c:pt idx="6">
                  <c:v>2637621991.1848593</c:v>
                </c:pt>
                <c:pt idx="7">
                  <c:v>2577685246.1524649</c:v>
                </c:pt>
                <c:pt idx="8">
                  <c:v>2572584014.4577198</c:v>
                </c:pt>
                <c:pt idx="9">
                  <c:v>2596928891.2060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E2C-491A-93A6-6FBDDB3ED089}"/>
            </c:ext>
          </c:extLst>
        </c:ser>
        <c:ser>
          <c:idx val="1"/>
          <c:order val="1"/>
          <c:spPr>
            <a:solidFill>
              <a:srgbClr val="CF80B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E2C-491A-93A6-6FBDDB3ED089}"/>
              </c:ext>
            </c:extLst>
          </c:dPt>
          <c:dPt>
            <c:idx val="3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E2C-491A-93A6-6FBDDB3ED089}"/>
              </c:ext>
            </c:extLst>
          </c:dPt>
          <c:dPt>
            <c:idx val="5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E2C-491A-93A6-6FBDDB3ED089}"/>
              </c:ext>
            </c:extLst>
          </c:dPt>
          <c:dPt>
            <c:idx val="7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E2C-491A-93A6-6FBDDB3ED089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1">
                  <c:v>569679.27688074112</c:v>
                </c:pt>
                <c:pt idx="2">
                  <c:v>167195529.51809978</c:v>
                </c:pt>
                <c:pt idx="3">
                  <c:v>64767467.495054722</c:v>
                </c:pt>
                <c:pt idx="4">
                  <c:v>31358138.497003555</c:v>
                </c:pt>
                <c:pt idx="5">
                  <c:v>11807102.927091599</c:v>
                </c:pt>
                <c:pt idx="6">
                  <c:v>3062908.5904998779</c:v>
                </c:pt>
                <c:pt idx="7">
                  <c:v>60814949.981208801</c:v>
                </c:pt>
                <c:pt idx="8">
                  <c:v>8284432.8710999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E2C-491A-93A6-6FBDDB3ED089}"/>
            </c:ext>
          </c:extLst>
        </c:ser>
        <c:ser>
          <c:idx val="2"/>
          <c:order val="2"/>
          <c:spPr>
            <a:solidFill>
              <a:srgbClr val="5395F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0E2C-491A-93A6-6FBDDB3ED089}"/>
              </c:ext>
            </c:extLst>
          </c:dPt>
          <c:dPt>
            <c:idx val="3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0E2C-491A-93A6-6FBDDB3ED089}"/>
              </c:ext>
            </c:extLst>
          </c:dPt>
          <c:dPt>
            <c:idx val="5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0E2C-491A-93A6-6FBDDB3ED089}"/>
              </c:ext>
            </c:extLst>
          </c:dPt>
          <c:dPt>
            <c:idx val="7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0E2C-491A-93A6-6FBDDB3ED089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1">
                  <c:v>118808777.70697784</c:v>
                </c:pt>
                <c:pt idx="2">
                  <c:v>154581917.64544296</c:v>
                </c:pt>
                <c:pt idx="3">
                  <c:v>75746151.586807251</c:v>
                </c:pt>
                <c:pt idx="4">
                  <c:v>27617352.903476238</c:v>
                </c:pt>
                <c:pt idx="5">
                  <c:v>63036263.451144218</c:v>
                </c:pt>
                <c:pt idx="6">
                  <c:v>878204.94881439209</c:v>
                </c:pt>
                <c:pt idx="7">
                  <c:v>3183201.1763548851</c:v>
                </c:pt>
                <c:pt idx="8">
                  <c:v>24344876.7483139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E2C-491A-93A6-6FBDDB3ED0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61977487"/>
        <c:axId val="1"/>
      </c:barChart>
      <c:catAx>
        <c:axId val="2619774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49413370.2711821"/>
          <c:min val="240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2619774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517.xml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6B68F7B-B8C9-4DA0-A277-54736FA0D6E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D0F5C8-44C7-4D56-970A-BBD2016AE4C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C91E0B-225D-4558-AA2B-C64212812988}" type="datetimeFigureOut">
              <a:rPr lang="zh-CN" altLang="en-US" smtClean="0"/>
              <a:t>2025/11/1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1A3B86-20D4-4B1A-B043-BCED6A3851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EFAA1C-ED3C-43ED-AE73-92125E6FA0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D5564F-378B-409B-913B-405065534E2B}" type="slidenum">
              <a:rPr lang="zh-CN" altLang="en-US" smtClean="0"/>
              <a:t>‹#›</a:t>
            </a:fld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532805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516.xml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BC3326-2740-43F5-8414-1C60ABCCC06B}" type="datetimeFigureOut">
              <a:rPr lang="zh-CN" altLang="en-US" smtClean="0"/>
              <a:t>2025/11/10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FD138C-6EEB-491F-9F54-72693351AA8B}" type="slidenum">
              <a:rPr lang="zh-CN" altLang="en-US" smtClean="0"/>
              <a:t>‹#›</a:t>
            </a:fld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29010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YTD</a:t>
            </a:r>
            <a:r>
              <a:rPr lang="zh-CN" altLang="en-US" dirty="0"/>
              <a:t>渠道购进总毛销售额</a:t>
            </a:r>
            <a:r>
              <a:rPr lang="en-US" altLang="zh-CN" dirty="0"/>
              <a:t>133.75</a:t>
            </a:r>
            <a:r>
              <a:rPr lang="zh-CN" altLang="en-US" dirty="0"/>
              <a:t>亿元，同比增长</a:t>
            </a:r>
            <a:r>
              <a:rPr lang="en-US" altLang="zh-CN" dirty="0"/>
              <a:t>5.6%</a:t>
            </a:r>
            <a:r>
              <a:rPr lang="zh-CN" altLang="en-US" dirty="0"/>
              <a:t>。</a:t>
            </a:r>
            <a:r>
              <a:rPr lang="zh-CN" altLang="en-US" sz="1200" dirty="0"/>
              <a:t>生意增长的最大贡献仍然来自</a:t>
            </a:r>
            <a:r>
              <a:rPr lang="en-US" altLang="zh-CN" sz="1200" dirty="0"/>
              <a:t>CV</a:t>
            </a:r>
            <a:r>
              <a:rPr lang="zh-CN" altLang="en-US" sz="1200" dirty="0"/>
              <a:t>，</a:t>
            </a:r>
            <a:r>
              <a:rPr lang="en-US" altLang="zh-CN" sz="1200" dirty="0"/>
              <a:t>CV YTD</a:t>
            </a:r>
            <a:r>
              <a:rPr lang="zh-CN" altLang="en-US" sz="1200" dirty="0"/>
              <a:t>同比增长</a:t>
            </a:r>
            <a:r>
              <a:rPr lang="en-US" altLang="zh-CN" sz="1200" dirty="0"/>
              <a:t>5.4%</a:t>
            </a:r>
            <a:r>
              <a:rPr lang="zh-CN" altLang="en-US" sz="1200" dirty="0"/>
              <a:t>（立</a:t>
            </a:r>
            <a:r>
              <a:rPr lang="en-US" altLang="zh-CN" sz="1200" dirty="0"/>
              <a:t>+5.9%</a:t>
            </a:r>
            <a:r>
              <a:rPr lang="zh-CN" altLang="en-US" sz="1200" dirty="0"/>
              <a:t>、络</a:t>
            </a:r>
            <a:r>
              <a:rPr lang="en-US" altLang="zh-CN" sz="1200" dirty="0"/>
              <a:t>+4.3%</a:t>
            </a:r>
            <a:r>
              <a:rPr lang="zh-CN" altLang="en-US" sz="1200" dirty="0"/>
              <a:t>），拉动整体生意</a:t>
            </a:r>
            <a:r>
              <a:rPr lang="en-US" altLang="zh-CN" sz="1200" dirty="0"/>
              <a:t>3.7%</a:t>
            </a:r>
            <a:r>
              <a:rPr lang="zh-CN" altLang="en-US" sz="1200" dirty="0"/>
              <a:t>的增长。</a:t>
            </a:r>
            <a:r>
              <a:rPr lang="en-US" altLang="zh-CN" sz="1200" dirty="0"/>
              <a:t>Non-VBP</a:t>
            </a:r>
            <a:r>
              <a:rPr lang="zh-CN" altLang="en-US" sz="1200" dirty="0"/>
              <a:t>产品继续保持</a:t>
            </a:r>
            <a:r>
              <a:rPr lang="en-US" altLang="zh-CN" sz="1200" dirty="0"/>
              <a:t>20%</a:t>
            </a:r>
            <a:r>
              <a:rPr lang="zh-CN" altLang="en-US" sz="1200" dirty="0"/>
              <a:t>以上增长，拉动整体生意</a:t>
            </a:r>
            <a:r>
              <a:rPr lang="en-US" altLang="zh-CN" sz="1200" dirty="0"/>
              <a:t>1.9%</a:t>
            </a:r>
            <a:r>
              <a:rPr lang="zh-CN" altLang="en-US" sz="1200" dirty="0"/>
              <a:t>增长。</a:t>
            </a:r>
            <a:r>
              <a:rPr lang="en-US" altLang="zh-CN" sz="1200" dirty="0"/>
              <a:t>CV</a:t>
            </a:r>
            <a:r>
              <a:rPr lang="zh-CN" altLang="en-US" sz="1200" dirty="0"/>
              <a:t>和</a:t>
            </a:r>
            <a:r>
              <a:rPr lang="en-US" altLang="zh-CN" sz="1200" dirty="0"/>
              <a:t>Non-VBP</a:t>
            </a:r>
            <a:r>
              <a:rPr lang="zh-CN" altLang="en-US" sz="1200" dirty="0"/>
              <a:t>产品增长贡献较</a:t>
            </a:r>
            <a:r>
              <a:rPr lang="en-US" altLang="zh-CN" sz="1200" dirty="0"/>
              <a:t>9</a:t>
            </a:r>
            <a:r>
              <a:rPr lang="zh-CN" altLang="en-US" sz="1200" dirty="0"/>
              <a:t>月</a:t>
            </a:r>
            <a:r>
              <a:rPr lang="en-US" altLang="zh-CN" sz="1200" dirty="0"/>
              <a:t>YTD</a:t>
            </a:r>
            <a:r>
              <a:rPr lang="zh-CN" altLang="en-US" sz="1200" dirty="0"/>
              <a:t>进一步扩大。</a:t>
            </a:r>
            <a:endParaRPr lang="en-US" altLang="zh-CN" dirty="0"/>
          </a:p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7024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从品类分布看，</a:t>
            </a:r>
            <a:r>
              <a:rPr lang="en-US" altLang="zh-CN" dirty="0"/>
              <a:t>CV</a:t>
            </a:r>
            <a:r>
              <a:rPr lang="zh-CN" altLang="en-US" dirty="0"/>
              <a:t>产品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YTD</a:t>
            </a:r>
            <a:r>
              <a:rPr lang="zh-CN" altLang="en-US" dirty="0"/>
              <a:t>毛销售额</a:t>
            </a:r>
            <a:r>
              <a:rPr lang="en-US" altLang="zh-CN" dirty="0"/>
              <a:t>92.78</a:t>
            </a:r>
            <a:r>
              <a:rPr lang="zh-CN" altLang="en-US" dirty="0"/>
              <a:t>亿元（同比增长</a:t>
            </a:r>
            <a:r>
              <a:rPr lang="en-US" altLang="zh-CN" dirty="0"/>
              <a:t>+5.4%</a:t>
            </a:r>
            <a:r>
              <a:rPr lang="zh-CN" altLang="en-US" dirty="0"/>
              <a:t>），</a:t>
            </a:r>
            <a:r>
              <a:rPr lang="en-US" altLang="zh-CN" dirty="0"/>
              <a:t>ED</a:t>
            </a:r>
            <a:r>
              <a:rPr lang="zh-CN" altLang="en-US" dirty="0"/>
              <a:t>毛销售额</a:t>
            </a:r>
            <a:r>
              <a:rPr lang="en-US" altLang="zh-CN" dirty="0"/>
              <a:t>14.90</a:t>
            </a:r>
            <a:r>
              <a:rPr lang="zh-CN" altLang="en-US" dirty="0"/>
              <a:t>亿元（</a:t>
            </a:r>
            <a:r>
              <a:rPr lang="en-US" altLang="zh-CN" dirty="0"/>
              <a:t>+0.5%</a:t>
            </a:r>
            <a:r>
              <a:rPr lang="zh-CN" altLang="en-US" dirty="0"/>
              <a:t>），</a:t>
            </a:r>
            <a:r>
              <a:rPr lang="en-US" altLang="zh-CN" dirty="0"/>
              <a:t>Pain</a:t>
            </a:r>
            <a:r>
              <a:rPr lang="zh-CN" altLang="en-US" dirty="0"/>
              <a:t>毛销售额</a:t>
            </a:r>
            <a:r>
              <a:rPr lang="en-US" altLang="zh-CN" dirty="0"/>
              <a:t>8.69</a:t>
            </a:r>
            <a:r>
              <a:rPr lang="zh-CN" altLang="en-US" dirty="0"/>
              <a:t>亿元（</a:t>
            </a:r>
            <a:r>
              <a:rPr lang="en-US" altLang="zh-CN" dirty="0"/>
              <a:t>-6.6%</a:t>
            </a:r>
            <a:r>
              <a:rPr lang="zh-CN" altLang="en-US" dirty="0"/>
              <a:t>），</a:t>
            </a:r>
            <a:r>
              <a:rPr lang="en-US" altLang="zh-CN" dirty="0"/>
              <a:t>CNS</a:t>
            </a:r>
            <a:r>
              <a:rPr lang="zh-CN" altLang="en-US" dirty="0"/>
              <a:t>毛销售额</a:t>
            </a:r>
            <a:r>
              <a:rPr lang="en-US" altLang="zh-CN" dirty="0"/>
              <a:t>5.24</a:t>
            </a:r>
            <a:r>
              <a:rPr lang="zh-CN" altLang="en-US" dirty="0"/>
              <a:t>亿元（</a:t>
            </a:r>
            <a:r>
              <a:rPr lang="en-US" altLang="zh-CN" dirty="0"/>
              <a:t>+5.7%</a:t>
            </a:r>
            <a:r>
              <a:rPr lang="zh-CN" altLang="en-US" dirty="0"/>
              <a:t>），</a:t>
            </a:r>
            <a:r>
              <a:rPr lang="en-US" altLang="zh-CN" dirty="0"/>
              <a:t>Non-VBP</a:t>
            </a:r>
            <a:r>
              <a:rPr lang="zh-CN" altLang="en-US" dirty="0"/>
              <a:t>产品毛销售额</a:t>
            </a:r>
            <a:r>
              <a:rPr lang="en-US" altLang="zh-CN" dirty="0"/>
              <a:t>7.16</a:t>
            </a:r>
            <a:r>
              <a:rPr lang="zh-CN" altLang="en-US" dirty="0"/>
              <a:t>亿元（</a:t>
            </a:r>
            <a:r>
              <a:rPr lang="en-US" altLang="zh-CN" dirty="0"/>
              <a:t>+36.5%</a:t>
            </a:r>
            <a:r>
              <a:rPr lang="zh-CN" altLang="en-US" dirty="0"/>
              <a:t>），医疗自诊双属性产品毛销售额</a:t>
            </a:r>
            <a:r>
              <a:rPr lang="en-US" altLang="zh-CN" dirty="0"/>
              <a:t>3.45</a:t>
            </a:r>
            <a:r>
              <a:rPr lang="zh-CN" altLang="en-US" dirty="0"/>
              <a:t>亿元（</a:t>
            </a:r>
            <a:r>
              <a:rPr lang="en-US" altLang="zh-CN" dirty="0"/>
              <a:t>+20.6%</a:t>
            </a:r>
            <a:r>
              <a:rPr lang="zh-CN" altLang="en-US" dirty="0"/>
              <a:t>）。其中</a:t>
            </a:r>
            <a:r>
              <a:rPr lang="en-US" altLang="zh-CN" dirty="0"/>
              <a:t>CV</a:t>
            </a:r>
            <a:r>
              <a:rPr lang="zh-CN" altLang="en-US" dirty="0"/>
              <a:t>占比</a:t>
            </a:r>
            <a:r>
              <a:rPr lang="en-US" altLang="zh-CN" dirty="0"/>
              <a:t>69.4%</a:t>
            </a:r>
            <a:r>
              <a:rPr lang="zh-CN" altLang="en-US" dirty="0"/>
              <a:t>，较去年并未发生显著变化；</a:t>
            </a:r>
            <a:r>
              <a:rPr lang="en-US" altLang="zh-CN" dirty="0"/>
              <a:t>Non-VBP</a:t>
            </a:r>
            <a:r>
              <a:rPr lang="zh-CN" altLang="en-US" dirty="0"/>
              <a:t>生意占比提升，</a:t>
            </a:r>
            <a:r>
              <a:rPr lang="en-US" altLang="zh-CN" dirty="0"/>
              <a:t>4.1%</a:t>
            </a:r>
            <a:r>
              <a:rPr lang="zh-CN" altLang="en-US" dirty="0"/>
              <a:t>提升至</a:t>
            </a:r>
            <a:r>
              <a:rPr lang="en-US" altLang="zh-CN" dirty="0"/>
              <a:t>5.3%</a:t>
            </a:r>
            <a:r>
              <a:rPr lang="zh-CN" altLang="en-US" dirty="0"/>
              <a:t>；同时</a:t>
            </a:r>
            <a:r>
              <a:rPr lang="en-US" altLang="zh-CN" dirty="0"/>
              <a:t>Pain</a:t>
            </a:r>
            <a:r>
              <a:rPr lang="zh-CN" altLang="en-US" dirty="0"/>
              <a:t>产品生意占比显著下降，</a:t>
            </a:r>
            <a:r>
              <a:rPr lang="en-US" altLang="zh-CN" dirty="0"/>
              <a:t>7.3%</a:t>
            </a:r>
            <a:r>
              <a:rPr lang="zh-CN" altLang="en-US" dirty="0"/>
              <a:t>降至</a:t>
            </a:r>
            <a:r>
              <a:rPr lang="en-US" altLang="zh-CN" dirty="0"/>
              <a:t>6.5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从渠道分布看，公立二三级医院毛销售额</a:t>
            </a:r>
            <a:r>
              <a:rPr lang="en-US" altLang="zh-CN" dirty="0"/>
              <a:t>36.73</a:t>
            </a:r>
            <a:r>
              <a:rPr lang="zh-CN" altLang="en-US" dirty="0"/>
              <a:t>亿元（</a:t>
            </a:r>
            <a:r>
              <a:rPr lang="en-US" altLang="zh-CN" dirty="0"/>
              <a:t>+8.9%</a:t>
            </a:r>
            <a:r>
              <a:rPr lang="zh-CN" altLang="en-US" dirty="0"/>
              <a:t>），公立一级医院及</a:t>
            </a:r>
            <a:r>
              <a:rPr lang="en-US" altLang="zh-CN" dirty="0"/>
              <a:t>CHC</a:t>
            </a:r>
            <a:r>
              <a:rPr lang="zh-CN" altLang="en-US" dirty="0"/>
              <a:t>毛销售额</a:t>
            </a:r>
            <a:r>
              <a:rPr lang="en-US" altLang="zh-CN" dirty="0"/>
              <a:t>14.41</a:t>
            </a:r>
            <a:r>
              <a:rPr lang="zh-CN" altLang="en-US" dirty="0"/>
              <a:t>亿元（</a:t>
            </a:r>
            <a:r>
              <a:rPr lang="en-US" altLang="zh-CN" dirty="0"/>
              <a:t>+4.7%</a:t>
            </a:r>
            <a:r>
              <a:rPr lang="zh-CN" altLang="en-US" dirty="0"/>
              <a:t>），民营医院毛销售额</a:t>
            </a:r>
            <a:r>
              <a:rPr lang="en-US" altLang="zh-CN" dirty="0"/>
              <a:t>24.99</a:t>
            </a:r>
            <a:r>
              <a:rPr lang="zh-CN" altLang="en-US" dirty="0"/>
              <a:t>亿元（</a:t>
            </a:r>
            <a:r>
              <a:rPr lang="en-US" altLang="zh-CN" dirty="0"/>
              <a:t>-1.2%</a:t>
            </a:r>
            <a:r>
              <a:rPr lang="zh-CN" altLang="en-US" dirty="0"/>
              <a:t>），零售毛销售额</a:t>
            </a:r>
            <a:r>
              <a:rPr lang="en-US" altLang="zh-CN" dirty="0"/>
              <a:t>46.78</a:t>
            </a:r>
            <a:r>
              <a:rPr lang="zh-CN" altLang="en-US" dirty="0"/>
              <a:t>亿元（</a:t>
            </a:r>
            <a:r>
              <a:rPr lang="en-US" altLang="zh-CN" dirty="0"/>
              <a:t>+1.9%</a:t>
            </a:r>
            <a:r>
              <a:rPr lang="zh-CN" altLang="en-US" dirty="0"/>
              <a:t>），电商毛销售额</a:t>
            </a:r>
            <a:r>
              <a:rPr lang="en-US" altLang="zh-CN" dirty="0"/>
              <a:t>10.84</a:t>
            </a:r>
            <a:r>
              <a:rPr lang="zh-CN" altLang="en-US" dirty="0"/>
              <a:t>亿元（</a:t>
            </a:r>
            <a:r>
              <a:rPr lang="en-US" altLang="zh-CN" dirty="0"/>
              <a:t>+36.2%</a:t>
            </a:r>
            <a:r>
              <a:rPr lang="zh-CN" altLang="en-US" dirty="0"/>
              <a:t>）。民营整体增长疲软，生意占比不断下降（从</a:t>
            </a:r>
            <a:r>
              <a:rPr lang="en-US" altLang="zh-CN" dirty="0"/>
              <a:t>20.0%</a:t>
            </a:r>
            <a:r>
              <a:rPr lang="zh-CN" altLang="en-US" dirty="0"/>
              <a:t>降至</a:t>
            </a:r>
            <a:r>
              <a:rPr lang="en-US" altLang="zh-CN" dirty="0"/>
              <a:t>18.7%</a:t>
            </a:r>
            <a:r>
              <a:rPr lang="zh-CN" altLang="en-US" dirty="0"/>
              <a:t>）；公立二三级和电商生意占比均显著提升，公立二三级占比提升至</a:t>
            </a:r>
            <a:r>
              <a:rPr lang="en-US" altLang="zh-CN" dirty="0"/>
              <a:t>27.5%</a:t>
            </a:r>
            <a:r>
              <a:rPr lang="zh-CN" altLang="en-US" dirty="0"/>
              <a:t>，电商占比提升至</a:t>
            </a:r>
            <a:r>
              <a:rPr lang="en-US" altLang="zh-CN" dirty="0"/>
              <a:t>8.1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6801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51F172-7496-ABCC-FEBA-5E10DAA32B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48D22488-4FDF-EF8A-CACB-213D59D233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132541E-95F9-4396-4F04-4EB88049D2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6DD7109-4CB2-7C8B-F501-5EEA19A2EB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33111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业务中心和电商团队</a:t>
            </a:r>
            <a:r>
              <a:rPr lang="en-US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YTD</a:t>
            </a:r>
            <a:r>
              <a:rPr lang="zh-CN" altLang="en-US" dirty="0"/>
              <a:t>团队业绩整体均达成。类消费品团队同比负增长（</a:t>
            </a:r>
            <a:r>
              <a:rPr lang="en-US" altLang="zh-CN" dirty="0"/>
              <a:t>-3.7%</a:t>
            </a:r>
            <a:r>
              <a:rPr lang="zh-CN" altLang="en-US" dirty="0"/>
              <a:t>），且</a:t>
            </a:r>
            <a:r>
              <a:rPr lang="en-US" altLang="zh-CN" dirty="0"/>
              <a:t>10</a:t>
            </a:r>
            <a:r>
              <a:rPr lang="zh-CN" altLang="en-US" dirty="0"/>
              <a:t>月业绩较过往月份有明显下滑（</a:t>
            </a:r>
            <a:r>
              <a:rPr lang="en-US" altLang="zh-CN" dirty="0"/>
              <a:t>vs 9</a:t>
            </a:r>
            <a:r>
              <a:rPr lang="zh-CN" altLang="en-US" dirty="0"/>
              <a:t>月</a:t>
            </a:r>
            <a:r>
              <a:rPr lang="en-US" altLang="zh-CN" dirty="0"/>
              <a:t>YTD</a:t>
            </a:r>
            <a:r>
              <a:rPr lang="zh-CN" altLang="en-US" dirty="0"/>
              <a:t>同比</a:t>
            </a:r>
            <a:r>
              <a:rPr lang="en-US" altLang="zh-CN" dirty="0"/>
              <a:t>-1.5%</a:t>
            </a:r>
            <a:r>
              <a:rPr lang="zh-CN" altLang="en-US" dirty="0"/>
              <a:t>）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350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1.png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1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4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5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6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7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9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0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2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14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5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7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4.xml"/><Relationship Id="rId5" Type="http://schemas.openxmlformats.org/officeDocument/2006/relationships/image" Target="../media/image27.png"/><Relationship Id="rId4" Type="http://schemas.openxmlformats.org/officeDocument/2006/relationships/image" Target="../media/image25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7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8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9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0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1.xml"/><Relationship Id="rId4" Type="http://schemas.openxmlformats.org/officeDocument/2006/relationships/image" Target="../media/image2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1.png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0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1.png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9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2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4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5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6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7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9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0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2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4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2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4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6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7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9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0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6.xml"/><Relationship Id="rId5" Type="http://schemas.openxmlformats.org/officeDocument/2006/relationships/image" Target="../media/image27.pn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9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0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1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2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3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4.xml"/><Relationship Id="rId4" Type="http://schemas.openxmlformats.org/officeDocument/2006/relationships/image" Target="../media/image2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9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1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2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3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4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5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7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9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1.bin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2.bin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image" Target="../media/image1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image" Target="../media/image1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4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image" Target="../media/image1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5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image" Target="../media/image1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6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7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image" Target="../media/image1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9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1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2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4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5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6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7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8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9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1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2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3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4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5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6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7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8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9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1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2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0.xml"/><Relationship Id="rId5" Type="http://schemas.openxmlformats.org/officeDocument/2006/relationships/image" Target="../media/image27.png"/><Relationship Id="rId4" Type="http://schemas.openxmlformats.org/officeDocument/2006/relationships/image" Target="../media/image25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4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3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5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6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7.xml"/><Relationship Id="rId4" Type="http://schemas.openxmlformats.org/officeDocument/2006/relationships/image" Target="../media/image2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79.xml"/><Relationship Id="rId1" Type="http://schemas.openxmlformats.org/officeDocument/2006/relationships/tags" Target="../tags/tag378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1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2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3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4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5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6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7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8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9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0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image" Target="../media/image2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20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2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4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5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6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7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1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2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2.xml"/><Relationship Id="rId5" Type="http://schemas.openxmlformats.org/officeDocument/2006/relationships/image" Target="../media/image27.png"/><Relationship Id="rId4" Type="http://schemas.openxmlformats.org/officeDocument/2006/relationships/image" Target="../media/image6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4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5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6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7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8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9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0.xml"/><Relationship Id="rId4" Type="http://schemas.openxmlformats.org/officeDocument/2006/relationships/image" Target="../media/image2.emf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2.xml"/><Relationship Id="rId1" Type="http://schemas.openxmlformats.org/officeDocument/2006/relationships/tags" Target="../tags/tag43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5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5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8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9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0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1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1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1.png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3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4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53.xml"/><Relationship Id="rId1" Type="http://schemas.openxmlformats.org/officeDocument/2006/relationships/tags" Target="../tags/tag45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5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6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7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2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61.xml"/><Relationship Id="rId1" Type="http://schemas.openxmlformats.org/officeDocument/2006/relationships/tags" Target="../tags/tag460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3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8.bin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65.xml"/><Relationship Id="rId1" Type="http://schemas.openxmlformats.org/officeDocument/2006/relationships/tags" Target="../tags/tag464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49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7.xml"/><Relationship Id="rId1" Type="http://schemas.openxmlformats.org/officeDocument/2006/relationships/tags" Target="../tags/tag46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69.xml"/><Relationship Id="rId1" Type="http://schemas.openxmlformats.org/officeDocument/2006/relationships/tags" Target="../tags/tag46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1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2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73.xml"/><Relationship Id="rId1" Type="http://schemas.openxmlformats.org/officeDocument/2006/relationships/tags" Target="../tags/tag472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3.bin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4.bin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6.xml"/><Relationship Id="rId5" Type="http://schemas.openxmlformats.org/officeDocument/2006/relationships/image" Target="../media/image29.jpeg"/><Relationship Id="rId4" Type="http://schemas.openxmlformats.org/officeDocument/2006/relationships/image" Target="../media/image28.emf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6.bin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80.xml"/><Relationship Id="rId1" Type="http://schemas.openxmlformats.org/officeDocument/2006/relationships/tags" Target="../tags/tag479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7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8.bin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84.xml"/><Relationship Id="rId1" Type="http://schemas.openxmlformats.org/officeDocument/2006/relationships/tags" Target="../tags/tag483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9.bin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1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2.bin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image" Target="../media/image2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63.bin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4.bin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5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6.bin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7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8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9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506.xml"/><Relationship Id="rId1" Type="http://schemas.openxmlformats.org/officeDocument/2006/relationships/tags" Target="../tags/tag505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1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9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0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1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2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3.xml"/><Relationship Id="rId4" Type="http://schemas.openxmlformats.org/officeDocument/2006/relationships/image" Target="../media/image30.emf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5.xml"/><Relationship Id="rId1" Type="http://schemas.openxmlformats.org/officeDocument/2006/relationships/tags" Target="../tags/tag5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7.bin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5" Type="http://schemas.openxmlformats.org/officeDocument/2006/relationships/image" Target="../media/image27.png"/><Relationship Id="rId4" Type="http://schemas.openxmlformats.org/officeDocument/2006/relationships/image" Target="../media/image2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2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0.xml"/><Relationship Id="rId5" Type="http://schemas.openxmlformats.org/officeDocument/2006/relationships/image" Target="../media/image27.png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5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6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7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8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9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6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8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0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1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2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1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1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4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1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5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7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1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9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0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883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4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PATI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2ADBD7-DF1A-43E7-8670-644A11CBC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2ADBD7-DF1A-43E7-8670-644A11CBC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809290-9878-4C53-A06D-14002EA3D9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person, kite, young, outdoor&#10;&#10;Description automatically generated">
            <a:extLst>
              <a:ext uri="{FF2B5EF4-FFF2-40B4-BE49-F238E27FC236}">
                <a16:creationId xmlns:a16="http://schemas.microsoft.com/office/drawing/2014/main" id="{AF5E436E-E530-BD48-A250-B19CE7BB47B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45867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6458673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11DCB8-C4E6-7685-356A-A5BEC00F7910}"/>
              </a:ext>
            </a:extLst>
          </p:cNvPr>
          <p:cNvGrpSpPr/>
          <p:nvPr userDrawn="1"/>
        </p:nvGrpSpPr>
        <p:grpSpPr>
          <a:xfrm>
            <a:off x="-900" y="-1"/>
            <a:ext cx="12193800" cy="6858001"/>
            <a:chOff x="-600" y="-1"/>
            <a:chExt cx="12193800" cy="6858001"/>
          </a:xfrm>
        </p:grpSpPr>
        <p:sp>
          <p:nvSpPr>
            <p:cNvPr id="10" name="No fly zone">
              <a:extLst>
                <a:ext uri="{FF2B5EF4-FFF2-40B4-BE49-F238E27FC236}">
                  <a16:creationId xmlns:a16="http://schemas.microsoft.com/office/drawing/2014/main" id="{5E7F29F8-9C93-51C2-D7B9-45002928E374}"/>
                </a:ext>
              </a:extLst>
            </p:cNvPr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11" name="Baselines / anchors">
              <a:extLst>
                <a:ext uri="{FF2B5EF4-FFF2-40B4-BE49-F238E27FC236}">
                  <a16:creationId xmlns:a16="http://schemas.microsoft.com/office/drawing/2014/main" id="{57B02A94-109E-4E31-20E4-98AA300993DE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FA67EE9-668D-90C4-B5D5-BD716B5E23C1}"/>
                  </a:ext>
                </a:extLst>
              </p:cNvPr>
              <p:cNvCxnSpPr/>
              <p:nvPr userDrawn="1"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62D072B-4A64-3880-A47C-99C586510F36}"/>
                  </a:ext>
                </a:extLst>
              </p:cNvPr>
              <p:cNvCxnSpPr/>
              <p:nvPr userDrawn="1"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E942CC7-CD2B-E7C8-4BAF-6742CAFCB94A}"/>
                  </a:ext>
                </a:extLst>
              </p:cNvPr>
              <p:cNvCxnSpPr/>
              <p:nvPr userDrawn="1"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4104B34-EF96-8F09-8C5D-0DBA957BD88F}"/>
                  </a:ext>
                </a:extLst>
              </p:cNvPr>
              <p:cNvCxnSpPr/>
              <p:nvPr userDrawn="1"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2CF298E3-4904-C315-ACB8-0308631004B3}"/>
                  </a:ext>
                </a:extLst>
              </p:cNvPr>
              <p:cNvCxnSpPr/>
              <p:nvPr userDrawn="1"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FBFC5ED-CE22-3C02-9284-CDA91DECBB16}"/>
                  </a:ext>
                </a:extLst>
              </p:cNvPr>
              <p:cNvCxnSpPr/>
              <p:nvPr userDrawn="1"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132363A4-D9A0-F4C8-8EEE-E517F6C6F0FA}"/>
                  </a:ext>
                </a:extLst>
              </p:cNvPr>
              <p:cNvCxnSpPr/>
              <p:nvPr userDrawn="1"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F53D0B22-E2E0-6A2C-8BFA-AC983DDD6DCE}"/>
                  </a:ext>
                </a:extLst>
              </p:cNvPr>
              <p:cNvCxnSpPr/>
              <p:nvPr userDrawn="1"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829E675-63BD-5D94-E8CF-EAE71F725409}"/>
                  </a:ext>
                </a:extLst>
              </p:cNvPr>
              <p:cNvCxnSpPr/>
              <p:nvPr userDrawn="1"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5E133AE-18FE-C205-228D-80441B34A07D}"/>
                  </a:ext>
                </a:extLst>
              </p:cNvPr>
              <p:cNvCxnSpPr/>
              <p:nvPr userDrawn="1"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D248414-CA8C-6F76-5D81-76031BB60A5F}"/>
                  </a:ext>
                </a:extLst>
              </p:cNvPr>
              <p:cNvCxnSpPr/>
              <p:nvPr userDrawn="1"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C0BDC74-48F4-E1B3-5A77-78E31E649864}"/>
                  </a:ext>
                </a:extLst>
              </p:cNvPr>
              <p:cNvCxnSpPr/>
              <p:nvPr userDrawn="1"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6B675847-7107-BCC8-FDCD-B9DB0B8012DF}"/>
                  </a:ext>
                </a:extLst>
              </p:cNvPr>
              <p:cNvCxnSpPr/>
              <p:nvPr userDrawn="1"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203CA51-46AC-CDAB-6EE1-798478438F44}"/>
                  </a:ext>
                </a:extLst>
              </p:cNvPr>
              <p:cNvCxnSpPr/>
              <p:nvPr userDrawn="1"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946C3BB-7499-D547-CCF5-DAAF1D8D0C8D}"/>
                  </a:ext>
                </a:extLst>
              </p:cNvPr>
              <p:cNvCxnSpPr/>
              <p:nvPr userDrawn="1"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A3D8B5E-4D93-6F8E-6553-B9E01F6671FC}"/>
                  </a:ext>
                </a:extLst>
              </p:cNvPr>
              <p:cNvCxnSpPr/>
              <p:nvPr userDrawn="1"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0A6A66B-1B13-C010-2ECD-EF3176CBAD99}"/>
                  </a:ext>
                </a:extLst>
              </p:cNvPr>
              <p:cNvCxnSpPr/>
              <p:nvPr userDrawn="1"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B8041CF-7D0A-F90A-6F67-EC239C825408}"/>
                  </a:ext>
                </a:extLst>
              </p:cNvPr>
              <p:cNvCxnSpPr/>
              <p:nvPr userDrawn="1"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321C791-2BDC-889B-EAA4-7E8161657EC0}"/>
                  </a:ext>
                </a:extLst>
              </p:cNvPr>
              <p:cNvCxnSpPr/>
              <p:nvPr userDrawn="1"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2CD6384D-B090-554A-F4BD-D1C12E157E7D}"/>
                  </a:ext>
                </a:extLst>
              </p:cNvPr>
              <p:cNvCxnSpPr/>
              <p:nvPr userDrawn="1"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utter space">
              <a:extLst>
                <a:ext uri="{FF2B5EF4-FFF2-40B4-BE49-F238E27FC236}">
                  <a16:creationId xmlns:a16="http://schemas.microsoft.com/office/drawing/2014/main" id="{79FC8412-DAA5-297D-7A1B-04F26E75DD50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6DCF3CB-B120-B090-B98F-AB073DD0577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E2C0907-17AA-1A1F-50F1-F53171E3D1C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DA76116-24A3-9FEE-B6C6-7602203BFDA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34AC4C4-7D51-C47C-0251-CE6B8052F2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A1D5232-8345-A403-53E8-B2DBA8ECFE5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5629E95-69C7-948B-1BD7-B1326721141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39841CF-2A52-0944-9EB4-68A3D46D7A6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DF36CC3E-3416-80B7-B153-4EE7295999F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6B7ADB2-21A1-67FC-C0BA-105D947A740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DCB82FE-52DE-F991-57A6-617C4787F04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2D011830-734B-5751-AB23-9BF5CC91A5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</p:grpSp>
        <p:sp>
          <p:nvSpPr>
            <p:cNvPr id="13" name="Slide edges">
              <a:extLst>
                <a:ext uri="{FF2B5EF4-FFF2-40B4-BE49-F238E27FC236}">
                  <a16:creationId xmlns:a16="http://schemas.microsoft.com/office/drawing/2014/main" id="{B44C5BE2-118A-AAF5-98A0-68B0FEAEB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" name="Footnote measure">
              <a:extLst>
                <a:ext uri="{FF2B5EF4-FFF2-40B4-BE49-F238E27FC236}">
                  <a16:creationId xmlns:a16="http://schemas.microsoft.com/office/drawing/2014/main" id="{515ECEDD-CA05-6B19-20C7-5194C10AD4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" name="Whitespace measure">
              <a:extLst>
                <a:ext uri="{FF2B5EF4-FFF2-40B4-BE49-F238E27FC236}">
                  <a16:creationId xmlns:a16="http://schemas.microsoft.com/office/drawing/2014/main" id="{0DCC80F7-AC7B-2369-40D1-3010EFA480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grpSp>
          <p:nvGrpSpPr>
            <p:cNvPr id="16" name="Five column measure">
              <a:extLst>
                <a:ext uri="{FF2B5EF4-FFF2-40B4-BE49-F238E27FC236}">
                  <a16:creationId xmlns:a16="http://schemas.microsoft.com/office/drawing/2014/main" id="{D3941B83-28D3-9DEB-52C3-2FF45A364AE1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8EED098A-9755-2D10-6DA1-5E3DFDFE3D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2B3DFE78-CB2B-F459-FF8C-F63E59F8FD7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4601554-D4F5-53EA-2FCA-54C27BA3052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1ECFA82A-D3A2-6725-72A4-8738ECBC97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99B5180-1907-0946-51EE-F306C78FE79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</p:grpSp>
        <p:sp>
          <p:nvSpPr>
            <p:cNvPr id="17" name="Live area">
              <a:extLst>
                <a:ext uri="{FF2B5EF4-FFF2-40B4-BE49-F238E27FC236}">
                  <a16:creationId xmlns:a16="http://schemas.microsoft.com/office/drawing/2014/main" id="{5243D7A2-F653-F66C-69EE-4A4F3293E44D}"/>
                </a:ext>
              </a:extLst>
            </p:cNvPr>
            <p:cNvSpPr/>
            <p:nvPr userDrawn="1"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" name="Footnote example">
              <a:extLst>
                <a:ext uri="{FF2B5EF4-FFF2-40B4-BE49-F238E27FC236}">
                  <a16:creationId xmlns:a16="http://schemas.microsoft.com/office/drawing/2014/main" id="{81128875-E6D8-DA36-499D-2B32EF1F5A95}"/>
                </a:ext>
              </a:extLst>
            </p:cNvPr>
            <p:cNvSpPr txBox="1"/>
            <p:nvPr userDrawn="1"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302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94B70D-DA78-4133-AD7C-9C125CD35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603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94B70D-DA78-4133-AD7C-9C125CD35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E422DE-E497-4640-9587-B926C33238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00FE91-9FE3-469E-AA34-2AAE56D2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0A64C1-857E-4E72-AAAC-5EF1B30EB9D4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67FEE1-4DD6-4D61-9126-07B309A3F8D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6903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094371-F322-4EBE-A1DB-90A69D6D0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739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094371-F322-4EBE-A1DB-90A69D6D0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C2FAC5-EB4B-4B53-AB1A-C26ABE0CC2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C9F178-28B4-4AE5-A56E-EAC2B860C8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91E986-29DA-462F-BB31-F36B9FACAE09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CEAD038-E67C-438E-A1EB-C00D8D064A6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/>
          <a:lstStyle>
            <a:lvl1pPr>
              <a:defRPr sz="3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149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7CE5A4-9DBE-452B-B1A7-06BD6A382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898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7CE5A4-9DBE-452B-B1A7-06BD6A382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C5EC4D-38F6-49D9-A2A6-C238F53080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658" y="2681103"/>
            <a:ext cx="3609742" cy="1495794"/>
          </a:xfrm>
          <a:noFill/>
        </p:spPr>
        <p:txBody>
          <a:bodyPr vert="horz" wrap="square" lIns="0" tIns="45720" rIns="0" bIns="4572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4114F0-A2F8-44C7-A134-22D2C3572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77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86DF70-975B-49FD-AA3C-9F1686297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3323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86DF70-975B-49FD-AA3C-9F1686297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6FD399-6C42-41E9-B8EB-BD2898F997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80F8C-D483-496F-895F-04922974F95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C07011F-0803-4EC6-B0B8-E3062F7FBD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947D3FB-9E74-49A8-90AB-7E315C8A0FD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27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BEC3BC-5B52-4AEA-9AE3-4F49A2B41D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802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BEC3BC-5B52-4AEA-9AE3-4F49A2B41D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5BF4B7-C918-41E8-AC5F-1390D55B1C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lIns="0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74666B7-4C0B-49CC-B98A-B53BA0B4A1D9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CCE55F-408F-414C-BFB8-FD7C7125F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4954EB-F71C-4A62-8B33-A451AA815C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58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36173E-B310-4716-9B29-7C07860DEF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000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36173E-B310-4716-9B29-7C07860DEF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75C06-1CBD-410C-85E9-A5EFF8E48A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DB1742-E92F-4264-9F3A-838B06BDD28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4E7BCB-2F98-4DD2-BBA1-BE2E0EB7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019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D9BE4-1868-4C0C-A22A-94A6A325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282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D9BE4-1868-4C0C-A22A-94A6A325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39EE4B-E046-4E43-9878-0CFB2DB898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DB9121-3FDF-4E36-81FD-8CBE738A9BB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030C99-BFBF-4F35-80E9-8AAE95B30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53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460BF9-A20F-4BA2-B465-4A56FB77C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339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460BF9-A20F-4BA2-B465-4A56FB77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F5F65-2BA7-4B14-B170-2E7A963CDC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E31529-EE77-49CA-B07E-2B5E28F191C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4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B8B3E8-71F9-4C0F-A77C-14E2A550B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181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B8B3E8-71F9-4C0F-A77C-14E2A550B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3278EB-19D4-47C1-BC41-6FEAB9C8A6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3A785AE-AE13-46D0-89AC-564515DF654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48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3A7B4D-95CD-4AE1-AE8D-43D3327B7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495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3A7B4D-95CD-4AE1-AE8D-43D3327B7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C53E5-9ED2-4E82-AFF1-90B69B12F7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804650"/>
            <a:ext cx="6404894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5BB9BD-9454-497B-B884-B1D29A012CA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82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938CA3-0A88-445C-8BD1-B883D6BE3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031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938CA3-0A88-445C-8BD1-B883D6BE3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AA295D-24AB-418C-AC6A-1A5F298A92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DA1D3B9-451E-734F-A3EF-58101E42FA2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BA73ACB-DF2B-E047-BE7F-5C5F9F4C9ECF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10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29682217-4946-4443-80FD-6FD67D5AF1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8623AD-36AB-444F-AB29-6BFF9E7DE75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37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F3201F-7543-4E9D-BD53-2057C237D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263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F3201F-7543-4E9D-BD53-2057C237D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02F41-4D3D-4AD9-AA0F-AE543CF321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AF482C-58D2-46E3-ADDE-9F2934DB4AC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2718F-D4A8-460A-ACD4-35F87AF70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53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C96504-3966-4B1D-97BC-EDBCCA68D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960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C96504-3966-4B1D-97BC-EDBCCA68D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97963D-3312-4A48-9C17-3DF889A5F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B87B61E-F1D4-43EC-AFC9-7D8A45F155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087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9842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CBC27E-9BC6-4846-9145-7D850EE5D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A03F1EB-2132-4238-97D0-5427A2F3E8F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B6CC4A4-59F2-4B7F-A44E-AE1FE721CF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663192-C1D4-47D8-9B83-FA528821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9916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663192-C1D4-47D8-9B83-FA528821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6BC054-CCE5-4E78-A0E8-DC22E988F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EACF901-2471-4635-A064-C84B3FB0471E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46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CA221-254A-4377-A964-767461649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877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CA221-254A-4377-A964-767461649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FD763D-F21A-4F01-871B-2A472B89A6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F0055CB-782B-4CC0-AF89-DE41D5324DC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81805A-3194-489F-A82B-841A9133D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31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189FA9-37D4-48A4-87E0-F2517B31D7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636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189FA9-37D4-48A4-87E0-F2517B31D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1D6A43-8617-443A-B09E-B1F636589D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DE233AF-5611-4D70-A973-87FF4CFBA71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174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6CDC6-32B5-4797-86DC-72C5A4B6B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590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6CDC6-32B5-4797-86DC-72C5A4B6B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6E06BB4-54B2-42BE-93F6-A8392AC44B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81278A5-2F2B-41F8-A9A9-96CA71AB5E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BF5C2C-32BB-4842-AD59-AC1F2CD0A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2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99332F-3EDF-4319-AC87-D52E33391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61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99332F-3EDF-4319-AC87-D52E3339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BCF8EE-B3BC-4130-8C1A-42A864EBDA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815D1C-F1FB-4507-9CB7-6F40560C5B2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05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1DDBE9-65FD-4988-9128-A621DD77E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41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1DDBE9-65FD-4988-9128-A621DD77E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70AABF-AE4F-4189-A564-DB69ED7B79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1E4245-8CED-4EE8-B7D2-5067633E206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E97872-F948-4ABD-955F-F7B0E2BCBF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9357FA-315F-4A21-ADF1-B0A00920A0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58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DD5D8F-9E57-4422-B165-49B0B98E4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8633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DD5D8F-9E57-4422-B165-49B0B98E4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110812D-D3D2-49AA-AE7A-393DE62E3F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063441-3C0A-439D-B1DF-46F1DB455C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7C31BBB-1020-46E3-B1D6-6A6D85CF72C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13048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B6FC61-B9D5-4F53-A9F8-80380D75F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01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B6FC61-B9D5-4F53-A9F8-80380D75F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CCF4678-F81C-4F1B-AC0E-311DED24DE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79DA33-BCFD-9F45-B6D4-22FE49B78DFE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DCEB8AF-7F6A-0D4C-83B7-53031C27485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307BE9C4-703B-564E-90C1-9C8B1D6835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AB49F2-700C-5949-B8E7-D5C45078042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45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1867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24" imgH="324" progId="TCLayout.ActiveDocument.1">
                  <p:embed/>
                </p:oleObj>
              </mc:Choice>
              <mc:Fallback>
                <p:oleObj name="think-cell 幻灯片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F7E97D-30EE-40D9-856F-59A8F89D8B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131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94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4234DD-8906-4B2C-86B2-FC42EE7D1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3664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4234DD-8906-4B2C-86B2-FC42EE7D1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082EFE-AE4F-4753-BA12-2DB7CB1442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470898"/>
          </a:xfrm>
        </p:spPr>
        <p:txBody>
          <a:bodyPr vert="horz" lIns="0"/>
          <a:lstStyle>
            <a:lvl1pPr>
              <a:defRPr sz="3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AB88BA-E242-4F85-9D75-75CDE19FD18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08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8F715B-D22C-49C6-B3AC-D5F1AA295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47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8F715B-D22C-49C6-B3AC-D5F1AA295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BB48FCF-91C9-477B-8B22-4DA423DF17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EC50707-6270-4C10-B300-562F308AD8BD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A4C9FB-4CC1-44B3-94D6-F6A3C654447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33064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4A8F4E-CFF1-4233-9249-84E4C229A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2352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4A8F4E-CFF1-4233-9249-84E4C229A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C9C5BEB-A0C9-49F7-AD0C-2A3E1447735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409B0C3-DE28-4015-BA6B-BEE7023BEE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65CB76-87ED-48D1-BB46-2AE81DF6DD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32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148DDD-B54A-42E3-A874-08D6674E3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24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148DDD-B54A-42E3-A874-08D6674E3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A6745807-C4EE-41DF-9B46-959DAC5204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8B3F28C-2C8F-437A-9374-C6C9F47E3271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B7EC9F-9CA9-49E2-A475-FCF1CB565A9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81843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745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98AEB1A-E0D0-4920-BE87-406F722D6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29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B63DB-FE12-4864-AD4A-41FDE6A89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151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9B63DB-FE12-4864-AD4A-41FDE6A89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880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780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4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9D99E9-D699-49DD-B838-EFF0878D7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511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9D99E9-D699-49DD-B838-EFF0878D7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109FBD-1B10-4968-9F1F-1426F488C5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939BBA-66F0-4589-B013-1893D90DB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16593B-988D-4294-A50A-337E70736DD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0C4716-0C84-4B08-9953-BCFE97D36A8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lIns="4572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4801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DC70C-1C9C-4E9E-B370-A4CA068F42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405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DC70C-1C9C-4E9E-B370-A4CA068F42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E6BAEB-13EE-40DB-BE16-2C2BC675F0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83350D-E0F2-4B2C-A667-56A37AD77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1AF74D-E1D7-4689-9E67-4A16A4CAE28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F78219-3A5C-4A4D-866D-B53A45248D9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68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F72DE-1E77-4CF8-AB31-BE226257E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567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F72DE-1E77-4CF8-AB31-BE226257E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4F23D18-C4E3-44D8-98DB-95D000973C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784D509-72FC-F74E-A9A4-CD7B32288EE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B4A277E-6D86-AB40-A0AB-84F3B75E851D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2" name="Picture 11" descr="A picture containing kite, flying, cat&#10;&#10;Description automatically generated">
              <a:extLst>
                <a:ext uri="{FF2B5EF4-FFF2-40B4-BE49-F238E27FC236}">
                  <a16:creationId xmlns:a16="http://schemas.microsoft.com/office/drawing/2014/main" id="{D5DBBE89-68C9-994F-8156-45233AC1E1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rgbClr val="2A276E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4560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2A276E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rgbClr val="2A276E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3ABB6C3-EA7D-E044-A817-5D2E5634B43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300128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DA2CB-7FF8-4CFB-A652-684E59403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382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DA2CB-7FF8-4CFB-A652-684E59403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EB680E-A139-474B-BE33-01A12B6671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658" y="2158987"/>
            <a:ext cx="3901342" cy="541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1227048"/>
            <a:ext cx="3901342" cy="664797"/>
          </a:xfrm>
        </p:spPr>
        <p:txBody>
          <a:bodyPr vert="horz" lIns="0" tIns="0" rIns="0" bIns="0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54F26-C665-4606-9A8F-D14E51201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D3B52D-4523-45C6-93FA-AA4D2DAE003F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46394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9FE2CA-F5BD-459D-B701-FB8A0A61B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3352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9FE2CA-F5BD-459D-B701-FB8A0A61B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34DD15-6E7C-4608-A41D-DB90A88166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E3E83C6-BB5A-4F84-95E2-2B86C8A0F7A5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1D8BD40-F4DC-49DE-9393-164D35A11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EC768D-CEDE-4487-A74F-8DE3B3F1552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39710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DD4ED-ADCE-4880-9BC8-443A0A811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64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DD4ED-ADCE-4880-9BC8-443A0A811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4BBBC4-DBB7-4ADD-9E58-809481FB6F6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lIns="0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E17A41D-95A9-412A-8B78-54DBB87F73D0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24093D-CB16-42C8-B28B-3BF961E4C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88C6105-A5C3-44E4-AD52-3C83B394F1E1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20829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C6112-A96D-4B61-8290-08899155E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315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C6112-A96D-4B61-8290-08899155E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C92D75-C1F2-4BAD-BB4D-C8570B6999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F3FA62-8956-474A-BD27-571D1858A6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489DDD-336A-41A0-954C-9EFC0E0561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6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E46131-D60C-4AB8-9741-E3D3445EE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551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E46131-D60C-4AB8-9741-E3D3445EE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DB581F-07A2-4744-8AF6-1250A80BF8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33871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67FB8E-1E92-48AC-8781-CA0439E5C42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F21E3D-1768-4FF1-8E30-6DAB14229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16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B55A6B-96AD-443A-8BE6-D7196A4B8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7872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B55A6B-96AD-443A-8BE6-D7196A4B8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1C9D1D1-54C8-40AA-9243-238FC6232D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8258926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5FF888-0717-4358-93C2-CC7F14E31E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6F9B14-AF97-4688-9449-BF575EEC9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00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18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38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9369B-8A66-4FA2-A3BA-152FECEA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966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9369B-8A66-4FA2-A3BA-152FECEA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D1462-4579-4F8D-A893-B2E04C1143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B38573-A25E-4C9D-B31A-B2A05C94277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725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C19B9-9588-464B-841B-4E0F598DE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835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C19B9-9588-464B-841B-4E0F598DE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8CC25D-0595-4526-A34D-5963921747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6405830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BB44A7-3D49-46C4-90C4-337457E4DAC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87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42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DC6B61-8D66-4FF7-8087-0AEE5F87B1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985EE07-872F-4546-8255-B1F7C3D3EE0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E21C828-CD0B-4330-AC77-38338CEB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30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98DD6D-4CB4-41B2-A6EB-106DE8DB8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20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98DD6D-4CB4-41B2-A6EB-106DE8DB8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B75437-06D4-4ABC-B060-E2777D4245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98E3A6-B93D-5849-BBEB-BD7566DBD12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E79B97-FABA-944E-AACE-BF4324FA4FB1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370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9AD5963-5D15-8241-82B5-07EB125BD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5C1A98-31EF-5A42-BDDE-11EFCFC6EF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 hidden="1">
            <a:extLst>
              <a:ext uri="{FF2B5EF4-FFF2-40B4-BE49-F238E27FC236}">
                <a16:creationId xmlns:a16="http://schemas.microsoft.com/office/drawing/2014/main" id="{9D30977D-5C4C-0345-B29D-F3EEC80FB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FF4B651-A3DD-164E-A86F-87AAFD959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5787EE-EE4E-EC4B-B6AC-8A6A90F9D0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42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93EF4C-1394-476A-823F-13E6F1417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87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93EF4C-1394-476A-823F-13E6F1417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6760-4974-4DC7-9999-25DF3181F6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97ADEF-13E9-4A70-98F3-9D70123E1E2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86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69B887-2B13-4C8F-946E-E594927A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350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69B887-2B13-4C8F-946E-E594927A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8B4775E-8277-4443-8882-027FE71887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550E0E2-8275-4A3A-913E-F5434458093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AACFB1-4FDE-49ED-ADA7-A182B4B0B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3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5A7C36-70AD-47B9-A14E-627B49FA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96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5A7C36-70AD-47B9-A14E-627B49FA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B4FB58-4BD6-4978-A0FC-9FD983A9B3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65BFCFB-E1C8-4E88-9187-AA63CA2E600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50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1631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9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73B82-53D5-4DFB-9CCC-3DDD34E83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751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73B82-53D5-4DFB-9CCC-3DDD34E83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45807-4395-43CE-A733-45D90261B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AFF65ED-EACB-4733-9AB0-8F7027C3C08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440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7521DA-F255-4067-808C-8D586F745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2548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7521DA-F255-4067-808C-8D586F745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C26B28-C269-4EB9-90B2-5897110D67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4BBF8DD-D31B-4FDE-A8D7-E1C68C47D3F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FAD55A-8215-43B0-8EDC-CF9D05EAE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06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F540FA-7567-4B2F-82E1-9079310B7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565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F540FA-7567-4B2F-82E1-9079310B7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7AFDB6-6892-470D-B2AD-81DAF5AB8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5000311-5D31-442E-85EE-28CA374E2C2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412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2C8FA-CE5C-4408-854B-AC23B40E8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560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2C8FA-CE5C-4408-854B-AC23B40E8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9165616-EA7E-4D0E-B74A-F91B0BD573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64DDA3-4ED6-45BF-AEDE-3CB64F40EA0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7B46AC5-A3B5-4681-BE90-824697C03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4A8EAD-E176-4539-86F9-EC73F4C535C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811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9F9065-0E22-4E32-800E-137DEFB3B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04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9F9065-0E22-4E32-800E-137DEFB3B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A5F1DA-3DFC-47CD-90BD-9068D02E26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0995EA-3202-42C8-B94C-D542DA25477E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3C1EA6-B16B-421C-AAC9-E5D290921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17BFF3-D96F-446A-8B0C-E86D1E3459D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26565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3843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087680-35E3-453F-AF01-53601FCE7C6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61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727105-51C1-4E4A-9888-1325C5102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2005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727105-51C1-4E4A-9888-1325C5102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A389C9-B88A-493F-AB9C-5AD7DF862E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F423A7B-3CC5-994C-B190-7FA28B4CEA92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64D83F-BFE8-4040-AC92-D096E8A80B07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9E03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" name="Picture 3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452F6A8-4D1F-8C42-901A-1E7A629B99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 hidden="1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2E334D-8C7D-284C-A54B-CC8ACECB21B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6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B4B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A175C1-DC26-4FD0-87C7-BD23A645D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787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A175C1-DC26-4FD0-87C7-BD23A645D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DB389B-860E-40E8-AC38-CC983BD40E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332399"/>
          </a:xfrm>
        </p:spPr>
        <p:txBody>
          <a:bodyPr vert="horz" l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811E0E-4CB4-4123-AF03-85175905E4C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72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FE13CB-8AEE-4F29-95FA-616822F7C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63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FE13CB-8AEE-4F29-95FA-616822F7C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8F7360B-CC2F-47B4-B395-D1BB177963D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929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B54EDB-E442-4474-B407-4BE7EB22B2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814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B54EDB-E442-4474-B407-4BE7EB22B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6FB7315-01D7-4A6E-AA2A-EA6B32CC554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82A0769-A4D2-4682-8A44-39467471C5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0B2B7BA-013C-4DFD-B152-C4D9BE3873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8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3D5FDBA-D1AA-421F-84E5-80647FFAA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090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3D5FDBA-D1AA-421F-84E5-80647FFAA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7BB428D-2EFA-4708-AB0A-FCF3726957AE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2AAC51-40BA-47A0-810A-3E9E77959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911923-2719-48CE-8A7A-1EA6FB02E59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982460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4584B5-037D-4D0E-AE3F-7F004DDC1B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810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4584B5-037D-4D0E-AE3F-7F004DDC1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4E755B5-EEBC-40F6-A9F2-A66FD0CD4753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64DBC5-8EC8-47CB-9179-F7B810F2F0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0D4599-3F15-49F6-A3AA-519E131402EE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37149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672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DE62D58-417A-4C55-AEA2-87625FC3A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502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C556E-5BF3-471B-A5EA-32A4AD580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09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C556E-5BF3-471B-A5EA-32A4AD580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839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6857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7472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B9DEE2-BCCC-4311-973D-744B08CF9A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336E713-A119-4AAC-A732-3EF4C5834F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715DA1-D7A5-49EA-A7F4-D83DD5679C2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881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147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A4205E-11B4-4E2E-9C29-8E054330113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D2AEDA8-5880-4E81-8AA9-552B04E65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D2527D-E64F-4AAF-8A96-9133426279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330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099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D893567-86AB-4279-8D5F-07B6D39EE5A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7C1B484-0589-46CA-BD14-67534F8CC1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5752E3-84B6-4441-96BD-77A4ABEDD2B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74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EAADC82-591B-490C-B13F-D6EC88661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14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EAADC82-591B-490C-B13F-D6EC88661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4BD5EC-3529-482E-8270-0CAB368BBF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5FB0D0-83F6-374E-ADDA-06AB649261F6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7F8EC9-EFC7-A640-A457-FBC5B1592F1B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5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ED0056ED-496B-4C43-8890-ED2BBFEC9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 hidden="1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4DA361-7D67-0B4D-9E01-929C534B9D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925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38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2649CE-05A9-48DD-92AC-90ED9A0169E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75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601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6244C1-EA2E-47F9-A10F-1508B50EF7F8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8953CE3-0CEC-42A1-A2B6-DD02E7600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A0084FE-F759-4EA9-B31D-03819119277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50810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804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DB60D0-DF1E-401E-9386-8ADCDA3CBCC5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BFA6297-6D10-4CB1-8665-B7361F923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9F9A676-A69D-44E6-85A4-9A60BA6847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85241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903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75810BAD-56F0-437E-AB0C-C00D3E6161FF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017D52-F038-4A25-968B-79202E2D6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672C3B-1746-4CA7-BD31-3DE659A7E1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53978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779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658" y="3262145"/>
            <a:ext cx="131838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9437F-7F71-40A9-834E-DB34A3C52023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61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34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9E71833-BCE9-43DC-97A6-F9A6A57C9EA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54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52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911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8382DF-DD0E-40F7-835E-30AACFFFD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2403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8382DF-DD0E-40F7-835E-30AACFFFD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5AD27D-C3CA-4C43-BA71-7BB13B72F5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descr="A picture containing kite, outdoor, flying, water&#10;&#10;Description automatically generated">
            <a:extLst>
              <a:ext uri="{FF2B5EF4-FFF2-40B4-BE49-F238E27FC236}">
                <a16:creationId xmlns:a16="http://schemas.microsoft.com/office/drawing/2014/main" id="{90FC3857-900F-3142-8241-2E22BF9427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82B868-0DD5-47D8-948F-1846207FB0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45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40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35E9FF-EA1E-4094-88C5-C05AFC65E7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C1BD50-8CC0-4C70-AF6A-E75C22DF26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3" y="0"/>
            <a:ext cx="12190815" cy="6858000"/>
          </a:xfrm>
          <a:prstGeom prst="rect">
            <a:avLst/>
          </a:prstGeom>
        </p:spPr>
      </p:pic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white">
          <a:xfrm>
            <a:off x="0" y="3602736"/>
            <a:ext cx="9848088" cy="996696"/>
          </a:xfrm>
          <a:prstGeom prst="rect">
            <a:avLst/>
          </a:prstGeom>
        </p:spPr>
        <p:txBody>
          <a:bodyPr lIns="685800" tIns="45720" rIns="457200" bIns="45720" anchor="t"/>
          <a:lstStyle>
            <a:lvl1pPr marL="0" indent="0" algn="l">
              <a:lnSpc>
                <a:spcPct val="140000"/>
              </a:lnSpc>
              <a:buNone/>
              <a:defRPr sz="200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0" y="1216152"/>
            <a:ext cx="9848088" cy="2386584"/>
          </a:xfrm>
          <a:prstGeom prst="rect">
            <a:avLst/>
          </a:prstGeom>
        </p:spPr>
        <p:txBody>
          <a:bodyPr lIns="685800" tIns="45720" rIns="457200" bIns="45720" anchor="b">
            <a:normAutofit/>
          </a:bodyPr>
          <a:lstStyle>
            <a:lvl1pPr algn="l">
              <a:lnSpc>
                <a:spcPct val="93000"/>
              </a:lnSpc>
              <a:defRPr lang="en-US" sz="50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ECBF22C-8BA9-47BC-B97A-5C9E5491C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72594EF-FBF0-4E9E-B131-651206D1BDA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4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C49E326-DBA2-4445-874C-2896611042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189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C49E326-DBA2-4445-874C-289661104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EBB1A6-86DA-418C-853E-6C5A10E82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kite, flying, colorful, holding&#10;&#10;Description automatically generated">
            <a:extLst>
              <a:ext uri="{FF2B5EF4-FFF2-40B4-BE49-F238E27FC236}">
                <a16:creationId xmlns:a16="http://schemas.microsoft.com/office/drawing/2014/main" id="{2E1494D2-3ABF-1A40-A28A-5B0540950E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260C3D-71AC-9643-BF42-E7CB8A8190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17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94B70D-DA78-4133-AD7C-9C125CD35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603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94B70D-DA78-4133-AD7C-9C125CD35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E422DE-E497-4640-9587-B926C33238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00FE91-9FE3-469E-AA34-2AAE56D2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0A64C1-857E-4E72-AAAC-5EF1B30EB9D4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67FEE1-4DD6-4D61-9126-07B309A3F8D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7746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3D9DF1-FCEF-430D-A893-2CC47EDD5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484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3D9DF1-FCEF-430D-A893-2CC47EDD5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E02592-B39D-4838-88A5-DF3E3690C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3117785-64E2-FD4A-8AA9-5DDF6A61A1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76737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CB942A-9589-4A44-9EB1-43210906E31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08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26FC7E-B5D2-403D-B518-88504CD8F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768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26FC7E-B5D2-403D-B518-88504CD8F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214AE5-C8F9-4F26-96E9-71CC547EA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skiing, snow, glasses, wine&#10;&#10;Description automatically generated">
            <a:extLst>
              <a:ext uri="{FF2B5EF4-FFF2-40B4-BE49-F238E27FC236}">
                <a16:creationId xmlns:a16="http://schemas.microsoft.com/office/drawing/2014/main" id="{10350442-1ABA-794B-8690-5B687B03A8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DA067C-8F4D-A347-9838-60DDA130F66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31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EMPLOYE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EFA9AF-5D73-4A5C-95AB-BDC831988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541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EFA9AF-5D73-4A5C-95AB-BDC831988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5669CD8-0ABE-4488-B58F-8793A81E5B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erson in glasses looking at the camera&#10;&#10;Description automatically generated">
            <a:extLst>
              <a:ext uri="{FF2B5EF4-FFF2-40B4-BE49-F238E27FC236}">
                <a16:creationId xmlns:a16="http://schemas.microsoft.com/office/drawing/2014/main" id="{CF469644-5102-984E-9572-AD8DA6E7B7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713316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713316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9FC614-B6BA-8E44-85B3-8D5561EB885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88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60AC594-74DD-41E5-9BEC-4966C0107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68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60AC594-74DD-41E5-9BEC-4966C0107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F52649-1FB2-4029-98F5-7CF548E925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erson posing for a picture&#10;&#10;Description automatically generated">
            <a:extLst>
              <a:ext uri="{FF2B5EF4-FFF2-40B4-BE49-F238E27FC236}">
                <a16:creationId xmlns:a16="http://schemas.microsoft.com/office/drawing/2014/main" id="{D8D01114-7F3C-2749-A486-BC146ACB85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49945A-EDAB-BC4A-B552-AFEEDD3CB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4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8E99FA-EA61-4A50-84AE-4C4EAD1894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302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B8E99FA-EA61-4A50-84AE-4C4EAD189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1E92761-0247-484E-97B2-2DC3B22194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outdoor, kite, water, flying&#10;&#10;Description automatically generated">
            <a:extLst>
              <a:ext uri="{FF2B5EF4-FFF2-40B4-BE49-F238E27FC236}">
                <a16:creationId xmlns:a16="http://schemas.microsoft.com/office/drawing/2014/main" id="{366E0882-F7F2-0149-9EA1-94865E490E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C666A0-3DF3-3045-9819-C70A66AB80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14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PATI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2ADBD7-DF1A-43E7-8670-644A11CBC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677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2ADBD7-DF1A-43E7-8670-644A11CBC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809290-9878-4C53-A06D-14002EA3D9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person, kite, young, outdoor&#10;&#10;Description automatically generated">
            <a:extLst>
              <a:ext uri="{FF2B5EF4-FFF2-40B4-BE49-F238E27FC236}">
                <a16:creationId xmlns:a16="http://schemas.microsoft.com/office/drawing/2014/main" id="{AF5E436E-E530-BD48-A250-B19CE7BB47B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45867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6458673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394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938CA3-0A88-445C-8BD1-B883D6BE3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1177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938CA3-0A88-445C-8BD1-B883D6BE3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AA295D-24AB-418C-AC6A-1A5F298A92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DA1D3B9-451E-734F-A3EF-58101E42FA2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BA73ACB-DF2B-E047-BE7F-5C5F9F4C9ECF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10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29682217-4946-4443-80FD-6FD67D5AF1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8623AD-36AB-444F-AB29-6BFF9E7DE75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59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B6FC61-B9D5-4F53-A9F8-80380D75F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81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B6FC61-B9D5-4F53-A9F8-80380D75F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CCF4678-F81C-4F1B-AC0E-311DED24DE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79DA33-BCFD-9F45-B6D4-22FE49B78DFE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DCEB8AF-7F6A-0D4C-83B7-53031C27485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307BE9C4-703B-564E-90C1-9C8B1D6835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AB49F2-700C-5949-B8E7-D5C45078042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44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F72DE-1E77-4CF8-AB31-BE226257E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3840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F72DE-1E77-4CF8-AB31-BE226257E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4F23D18-C4E3-44D8-98DB-95D000973C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784D509-72FC-F74E-A9A4-CD7B32288EE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B4A277E-6D86-AB40-A0AB-84F3B75E851D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2" name="Picture 11" descr="A picture containing kite, flying, cat&#10;&#10;Description automatically generated">
              <a:extLst>
                <a:ext uri="{FF2B5EF4-FFF2-40B4-BE49-F238E27FC236}">
                  <a16:creationId xmlns:a16="http://schemas.microsoft.com/office/drawing/2014/main" id="{D5DBBE89-68C9-994F-8156-45233AC1E1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rgbClr val="2A276E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4560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2A276E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rgbClr val="2A276E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3ABB6C3-EA7D-E044-A817-5D2E5634B43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300128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47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98DD6D-4CB4-41B2-A6EB-106DE8DB8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98DD6D-4CB4-41B2-A6EB-106DE8DB8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B75437-06D4-4ABC-B060-E2777D4245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98E3A6-B93D-5849-BBEB-BD7566DBD12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E79B97-FABA-944E-AACE-BF4324FA4FB1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370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9AD5963-5D15-8241-82B5-07EB125BD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5C1A98-31EF-5A42-BDDE-11EFCFC6EF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D30977D-5C4C-0345-B29D-F3EEC80FB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FF4B651-A3DD-164E-A86F-87AAFD959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5787EE-EE4E-EC4B-B6AC-8A6A90F9D0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64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094371-F322-4EBE-A1DB-90A69D6D0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739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094371-F322-4EBE-A1DB-90A69D6D0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C2FAC5-EB4B-4B53-AB1A-C26ABE0CC2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C9F178-28B4-4AE5-A56E-EAC2B860C8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91E986-29DA-462F-BB31-F36B9FACAE09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CEAD038-E67C-438E-A1EB-C00D8D064A6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/>
          <a:lstStyle>
            <a:lvl1pPr>
              <a:defRPr sz="3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683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727105-51C1-4E4A-9888-1325C5102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03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727105-51C1-4E4A-9888-1325C5102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A389C9-B88A-493F-AB9C-5AD7DF862E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F423A7B-3CC5-994C-B190-7FA28B4CEA92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64D83F-BFE8-4040-AC92-D096E8A80B07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9E03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" name="Picture 3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452F6A8-4D1F-8C42-901A-1E7A629B99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2E334D-8C7D-284C-A54B-CC8ACECB21B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38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EAADC82-591B-490C-B13F-D6EC88661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922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EAADC82-591B-490C-B13F-D6EC88661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4BD5EC-3529-482E-8270-0CAB368BBF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5FB0D0-83F6-374E-ADDA-06AB649261F6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7F8EC9-EFC7-A640-A457-FBC5B1592F1B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5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ED0056ED-496B-4C43-8890-ED2BBFEC9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4DA361-7D67-0B4D-9E01-929C534B9D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37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94B70D-DA78-4133-AD7C-9C125CD35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396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94B70D-DA78-4133-AD7C-9C125CD35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E422DE-E497-4640-9587-B926C33238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00FE91-9FE3-469E-AA34-2AAE56D2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0A64C1-857E-4E72-AAAC-5EF1B30EB9D4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67FEE1-4DD6-4D61-9126-07B309A3F8D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276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094371-F322-4EBE-A1DB-90A69D6D0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6207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094371-F322-4EBE-A1DB-90A69D6D0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C2FAC5-EB4B-4B53-AB1A-C26ABE0CC2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C9F178-28B4-4AE5-A56E-EAC2B860C8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91E986-29DA-462F-BB31-F36B9FACAE09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CEAD038-E67C-438E-A1EB-C00D8D064A6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/>
          <a:lstStyle>
            <a:lvl1pPr>
              <a:defRPr sz="3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363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7CE5A4-9DBE-452B-B1A7-06BD6A382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66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7CE5A4-9DBE-452B-B1A7-06BD6A382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C5EC4D-38F6-49D9-A2A6-C238F53080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658" y="2681103"/>
            <a:ext cx="3609742" cy="1495794"/>
          </a:xfrm>
          <a:noFill/>
        </p:spPr>
        <p:txBody>
          <a:bodyPr vert="horz" wrap="square" lIns="0" tIns="45720" rIns="0" bIns="4572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4114F0-A2F8-44C7-A134-22D2C3572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22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86DF70-975B-49FD-AA3C-9F1686297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0203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86DF70-975B-49FD-AA3C-9F1686297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6FD399-6C42-41E9-B8EB-BD2898F997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80F8C-D483-496F-895F-04922974F95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C07011F-0803-4EC6-B0B8-E3062F7FBD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947D3FB-9E74-49A8-90AB-7E315C8A0FD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40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BEC3BC-5B52-4AEA-9AE3-4F49A2B41D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418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BEC3BC-5B52-4AEA-9AE3-4F49A2B41D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5BF4B7-C918-41E8-AC5F-1390D55B1C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lIns="0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74666B7-4C0B-49CC-B98A-B53BA0B4A1D9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CCE55F-408F-414C-BFB8-FD7C7125F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4954EB-F71C-4A62-8B33-A451AA815C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36173E-B310-4716-9B29-7C07860DEF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45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36173E-B310-4716-9B29-7C07860DEF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75C06-1CBD-410C-85E9-A5EFF8E48A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DB1742-E92F-4264-9F3A-838B06BDD28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4E7BCB-2F98-4DD2-BBA1-BE2E0EB7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29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D9BE4-1868-4C0C-A22A-94A6A325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211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D9BE4-1868-4C0C-A22A-94A6A325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39EE4B-E046-4E43-9878-0CFB2DB898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DB9121-3FDF-4E36-81FD-8CBE738A9BB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030C99-BFBF-4F35-80E9-8AAE95B30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52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460BF9-A20F-4BA2-B465-4A56FB77C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562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460BF9-A20F-4BA2-B465-4A56FB77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F5F65-2BA7-4B14-B170-2E7A963CDC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E31529-EE77-49CA-B07E-2B5E28F191C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24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7CE5A4-9DBE-452B-B1A7-06BD6A382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898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7CE5A4-9DBE-452B-B1A7-06BD6A382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C5EC4D-38F6-49D9-A2A6-C238F53080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658" y="2681103"/>
            <a:ext cx="3609742" cy="1495794"/>
          </a:xfrm>
          <a:noFill/>
        </p:spPr>
        <p:txBody>
          <a:bodyPr vert="horz" wrap="square" lIns="0" tIns="45720" rIns="0" bIns="4572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4114F0-A2F8-44C7-A134-22D2C3572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52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B8B3E8-71F9-4C0F-A77C-14E2A550B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459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B8B3E8-71F9-4C0F-A77C-14E2A550B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3278EB-19D4-47C1-BC41-6FEAB9C8A6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3A785AE-AE13-46D0-89AC-564515DF654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28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3A7B4D-95CD-4AE1-AE8D-43D3327B7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0351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3A7B4D-95CD-4AE1-AE8D-43D3327B7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C53E5-9ED2-4E82-AFF1-90B69B12F7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804650"/>
            <a:ext cx="6404894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5BB9BD-9454-497B-B884-B1D29A012CA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90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F3201F-7543-4E9D-BD53-2057C237D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646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F3201F-7543-4E9D-BD53-2057C237D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02F41-4D3D-4AD9-AA0F-AE543CF321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AF482C-58D2-46E3-ADDE-9F2934DB4AC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2718F-D4A8-460A-ACD4-35F87AF70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41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C96504-3966-4B1D-97BC-EDBCCA68D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927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C96504-3966-4B1D-97BC-EDBCCA68D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97963D-3312-4A48-9C17-3DF889A5F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B87B61E-F1D4-43EC-AFC9-7D8A45F155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36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6014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CBC27E-9BC6-4846-9145-7D850EE5D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A03F1EB-2132-4238-97D0-5427A2F3E8F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B6CC4A4-59F2-4B7F-A44E-AE1FE721CF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42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663192-C1D4-47D8-9B83-FA528821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336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663192-C1D4-47D8-9B83-FA528821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6BC054-CCE5-4E78-A0E8-DC22E988F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EACF901-2471-4635-A064-C84B3FB0471E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93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CA221-254A-4377-A964-767461649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334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CA221-254A-4377-A964-767461649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FD763D-F21A-4F01-871B-2A472B89A6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F0055CB-782B-4CC0-AF89-DE41D5324DC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81805A-3194-489F-A82B-841A9133D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21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189FA9-37D4-48A4-87E0-F2517B31D7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60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189FA9-37D4-48A4-87E0-F2517B31D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1D6A43-8617-443A-B09E-B1F636589D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DE233AF-5611-4D70-A973-87FF4CFBA71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95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6CDC6-32B5-4797-86DC-72C5A4B6B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2474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6CDC6-32B5-4797-86DC-72C5A4B6B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6E06BB4-54B2-42BE-93F6-A8392AC44B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81278A5-2F2B-41F8-A9A9-96CA71AB5E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BF5C2C-32BB-4842-AD59-AC1F2CD0A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60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99332F-3EDF-4319-AC87-D52E33391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430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99332F-3EDF-4319-AC87-D52E3339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BCF8EE-B3BC-4130-8C1A-42A864EBDA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815D1C-F1FB-4507-9CB7-6F40560C5B2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57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8382DF-DD0E-40F7-835E-30AACFFFD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619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8382DF-DD0E-40F7-835E-30AACFFFD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5AD27D-C3CA-4C43-BA71-7BB13B72F5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descr="A picture containing kite, outdoor, flying, water&#10;&#10;Description automatically generated">
            <a:extLst>
              <a:ext uri="{FF2B5EF4-FFF2-40B4-BE49-F238E27FC236}">
                <a16:creationId xmlns:a16="http://schemas.microsoft.com/office/drawing/2014/main" id="{90FC3857-900F-3142-8241-2E22BF9427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82B868-0DD5-47D8-948F-1846207FB0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75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86DF70-975B-49FD-AA3C-9F1686297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3323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86DF70-975B-49FD-AA3C-9F1686297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6FD399-6C42-41E9-B8EB-BD2898F997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 hidden="1">
            <a:extLst>
              <a:ext uri="{FF2B5EF4-FFF2-40B4-BE49-F238E27FC236}">
                <a16:creationId xmlns:a16="http://schemas.microsoft.com/office/drawing/2014/main" id="{8DD80F8C-D483-496F-895F-04922974F95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C07011F-0803-4EC6-B0B8-E3062F7FBD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947D3FB-9E74-49A8-90AB-7E315C8A0FD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79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1DDBE9-65FD-4988-9128-A621DD77E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0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1DDBE9-65FD-4988-9128-A621DD77E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70AABF-AE4F-4189-A564-DB69ED7B79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1E4245-8CED-4EE8-B7D2-5067633E206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E97872-F948-4ABD-955F-F7B0E2BCBF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9357FA-315F-4A21-ADF1-B0A00920A0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98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DD5D8F-9E57-4422-B165-49B0B98E4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565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DD5D8F-9E57-4422-B165-49B0B98E4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110812D-D3D2-49AA-AE7A-393DE62E3F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063441-3C0A-439D-B1DF-46F1DB455C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7C31BBB-1020-46E3-B1D6-6A6D85CF72C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68555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791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24" imgH="324" progId="TCLayout.ActiveDocument.1">
                  <p:embed/>
                </p:oleObj>
              </mc:Choice>
              <mc:Fallback>
                <p:oleObj name="think-cell 幻灯片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F7E97D-30EE-40D9-856F-59A8F89D8B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58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94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4234DD-8906-4B2C-86B2-FC42EE7D1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117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4234DD-8906-4B2C-86B2-FC42EE7D1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082EFE-AE4F-4753-BA12-2DB7CB1442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470898"/>
          </a:xfrm>
        </p:spPr>
        <p:txBody>
          <a:bodyPr vert="horz" lIns="0"/>
          <a:lstStyle>
            <a:lvl1pPr>
              <a:defRPr sz="3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AB88BA-E242-4F85-9D75-75CDE19FD18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96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8F715B-D22C-49C6-B3AC-D5F1AA295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4709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8F715B-D22C-49C6-B3AC-D5F1AA295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BB48FCF-91C9-477B-8B22-4DA423DF17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EC50707-6270-4C10-B300-562F308AD8BD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A4C9FB-4CC1-44B3-94D6-F6A3C654447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86227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4A8F4E-CFF1-4233-9249-84E4C229A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9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4A8F4E-CFF1-4233-9249-84E4C229A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C9C5BEB-A0C9-49F7-AD0C-2A3E1447735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409B0C3-DE28-4015-BA6B-BEE7023BEE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65CB76-87ED-48D1-BB46-2AE81DF6DD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7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148DDD-B54A-42E3-A874-08D6674E3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5364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148DDD-B54A-42E3-A874-08D6674E3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A6745807-C4EE-41DF-9B46-959DAC5204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8B3F28C-2C8F-437A-9374-C6C9F47E3271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B7EC9F-9CA9-49E2-A475-FCF1CB565A9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255055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425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98AEB1A-E0D0-4920-BE87-406F722D6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01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B63DB-FE12-4864-AD4A-41FDE6A89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69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9B63DB-FE12-4864-AD4A-41FDE6A89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42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011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0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BEC3BC-5B52-4AEA-9AE3-4F49A2B41D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802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BEC3BC-5B52-4AEA-9AE3-4F49A2B41D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5BF4B7-C918-41E8-AC5F-1390D55B1C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lIns="0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274666B7-4C0B-49CC-B98A-B53BA0B4A1D9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CCE55F-408F-414C-BFB8-FD7C7125F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4954EB-F71C-4A62-8B33-A451AA815C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68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9D99E9-D699-49DD-B838-EFF0878D7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467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9D99E9-D699-49DD-B838-EFF0878D7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109FBD-1B10-4968-9F1F-1426F488C5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939BBA-66F0-4589-B013-1893D90DB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16593B-988D-4294-A50A-337E70736DD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0C4716-0C84-4B08-9953-BCFE97D36A8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lIns="4572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7369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DC70C-1C9C-4E9E-B370-A4CA068F42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864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DC70C-1C9C-4E9E-B370-A4CA068F42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E6BAEB-13EE-40DB-BE16-2C2BC675F0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83350D-E0F2-4B2C-A667-56A37AD77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1AF74D-E1D7-4689-9E67-4A16A4CAE28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F78219-3A5C-4A4D-866D-B53A45248D9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410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DA2CB-7FF8-4CFB-A652-684E59403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292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DA2CB-7FF8-4CFB-A652-684E59403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EB680E-A139-474B-BE33-01A12B6671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658" y="2158987"/>
            <a:ext cx="3901342" cy="541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1227048"/>
            <a:ext cx="3901342" cy="664797"/>
          </a:xfrm>
        </p:spPr>
        <p:txBody>
          <a:bodyPr vert="horz" lIns="0" tIns="0" rIns="0" bIns="0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54F26-C665-4606-9A8F-D14E51201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D3B52D-4523-45C6-93FA-AA4D2DAE003F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65953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9FE2CA-F5BD-459D-B701-FB8A0A61B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886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9FE2CA-F5BD-459D-B701-FB8A0A61B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34DD15-6E7C-4608-A41D-DB90A88166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E3E83C6-BB5A-4F84-95E2-2B86C8A0F7A5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1D8BD40-F4DC-49DE-9393-164D35A11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EC768D-CEDE-4487-A74F-8DE3B3F1552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45333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DD4ED-ADCE-4880-9BC8-443A0A811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705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DD4ED-ADCE-4880-9BC8-443A0A811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4BBBC4-DBB7-4ADD-9E58-809481FB6F6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lIns="0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E17A41D-95A9-412A-8B78-54DBB87F73D0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24093D-CB16-42C8-B28B-3BF961E4C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88C6105-A5C3-44E4-AD52-3C83B394F1E1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75724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C6112-A96D-4B61-8290-08899155E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177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C6112-A96D-4B61-8290-08899155E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C92D75-C1F2-4BAD-BB4D-C8570B6999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F3FA62-8956-474A-BD27-571D1858A6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489DDD-336A-41A0-954C-9EFC0E0561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32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E46131-D60C-4AB8-9741-E3D3445EE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1621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E46131-D60C-4AB8-9741-E3D3445EE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DB581F-07A2-4744-8AF6-1250A80BF8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33871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67FB8E-1E92-48AC-8781-CA0439E5C42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F21E3D-1768-4FF1-8E30-6DAB14229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0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B55A6B-96AD-443A-8BE6-D7196A4B8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429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B55A6B-96AD-443A-8BE6-D7196A4B8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1C9D1D1-54C8-40AA-9243-238FC6232D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8258926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5FF888-0717-4358-93C2-CC7F14E31E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6F9B14-AF97-4688-9449-BF575EEC9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35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59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821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9369B-8A66-4FA2-A3BA-152FECEA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406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9369B-8A66-4FA2-A3BA-152FECEA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D1462-4579-4F8D-A893-B2E04C1143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B38573-A25E-4C9D-B31A-B2A05C94277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4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36173E-B310-4716-9B29-7C07860DEF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000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36173E-B310-4716-9B29-7C07860DEF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75C06-1CBD-410C-85E9-A5EFF8E48A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44DB1742-E92F-4264-9F3A-838B06BDD28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4E7BCB-2F98-4DD2-BBA1-BE2E0EB7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50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C19B9-9588-464B-841B-4E0F598DE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8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C19B9-9588-464B-841B-4E0F598DE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8CC25D-0595-4526-A34D-5963921747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6405830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BB44A7-3D49-46C4-90C4-337457E4DAC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22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781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DC6B61-8D66-4FF7-8087-0AEE5F87B1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985EE07-872F-4546-8255-B1F7C3D3EE0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E21C828-CD0B-4330-AC77-38338CEB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55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93EF4C-1394-476A-823F-13E6F1417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884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93EF4C-1394-476A-823F-13E6F1417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6760-4974-4DC7-9999-25DF3181F6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97ADEF-13E9-4A70-98F3-9D70123E1E2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835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69B887-2B13-4C8F-946E-E594927A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22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69B887-2B13-4C8F-946E-E594927A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8B4775E-8277-4443-8882-027FE71887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550E0E2-8275-4A3A-913E-F5434458093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AACFB1-4FDE-49ED-ADA7-A182B4B0B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62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5A7C36-70AD-47B9-A14E-627B49FA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0120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5A7C36-70AD-47B9-A14E-627B49FA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B4FB58-4BD6-4978-A0FC-9FD983A9B3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65BFCFB-E1C8-4E88-9187-AA63CA2E600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714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28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8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73B82-53D5-4DFB-9CCC-3DDD34E83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6518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73B82-53D5-4DFB-9CCC-3DDD34E83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45807-4395-43CE-A733-45D90261B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AFF65ED-EACB-4733-9AB0-8F7027C3C08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22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7521DA-F255-4067-808C-8D586F745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0658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7521DA-F255-4067-808C-8D586F745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C26B28-C269-4EB9-90B2-5897110D67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4BBF8DD-D31B-4FDE-A8D7-E1C68C47D3F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FAD55A-8215-43B0-8EDC-CF9D05EAE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63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F540FA-7567-4B2F-82E1-9079310B7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261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F540FA-7567-4B2F-82E1-9079310B7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7AFDB6-6892-470D-B2AD-81DAF5AB8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5000311-5D31-442E-85EE-28CA374E2C2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85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2C8FA-CE5C-4408-854B-AC23B40E8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015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2C8FA-CE5C-4408-854B-AC23B40E8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9165616-EA7E-4D0E-B74A-F91B0BD573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64DDA3-4ED6-45BF-AEDE-3CB64F40EA0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7B46AC5-A3B5-4681-BE90-824697C03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4A8EAD-E176-4539-86F9-EC73F4C535C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3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D9BE4-1868-4C0C-A22A-94A6A325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282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D9BE4-1868-4C0C-A22A-94A6A325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39EE4B-E046-4E43-9878-0CFB2DB898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54DB9121-3FDF-4E36-81FD-8CBE738A9BB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030C99-BFBF-4F35-80E9-8AAE95B30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53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9F9065-0E22-4E32-800E-137DEFB3B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915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9F9065-0E22-4E32-800E-137DEFB3B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A5F1DA-3DFC-47CD-90BD-9068D02E26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0995EA-3202-42C8-B94C-D542DA25477E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3C1EA6-B16B-421C-AAC9-E5D290921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17BFF3-D96F-446A-8B0C-E86D1E3459D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15713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693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087680-35E3-453F-AF01-53601FCE7C6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99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B4B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A175C1-DC26-4FD0-87C7-BD23A645D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082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A175C1-DC26-4FD0-87C7-BD23A645D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DB389B-860E-40E8-AC38-CC983BD40E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332399"/>
          </a:xfrm>
        </p:spPr>
        <p:txBody>
          <a:bodyPr vert="horz" l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811E0E-4CB4-4123-AF03-85175905E4C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406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FE13CB-8AEE-4F29-95FA-616822F7C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629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FE13CB-8AEE-4F29-95FA-616822F7C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8F7360B-CC2F-47B4-B395-D1BB177963D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36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B54EDB-E442-4474-B407-4BE7EB22B2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87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B54EDB-E442-4474-B407-4BE7EB22B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6FB7315-01D7-4A6E-AA2A-EA6B32CC554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82A0769-A4D2-4682-8A44-39467471C5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0B2B7BA-013C-4DFD-B152-C4D9BE3873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97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3D5FDBA-D1AA-421F-84E5-80647FFAA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654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3D5FDBA-D1AA-421F-84E5-80647FFAA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7BB428D-2EFA-4708-AB0A-FCF3726957AE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2AAC51-40BA-47A0-810A-3E9E77959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911923-2719-48CE-8A7A-1EA6FB02E59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56261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4584B5-037D-4D0E-AE3F-7F004DDC1B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965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4584B5-037D-4D0E-AE3F-7F004DDC1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4E755B5-EEBC-40F6-A9F2-A66FD0CD4753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64DBC5-8EC8-47CB-9179-F7B810F2F0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0D4599-3F15-49F6-A3AA-519E131402EE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83592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6504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DE62D58-417A-4C55-AEA2-87625FC3A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262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C556E-5BF3-471B-A5EA-32A4AD580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290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C556E-5BF3-471B-A5EA-32A4AD580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1877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619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7472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B9DEE2-BCCC-4311-973D-744B08CF9A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336E713-A119-4AAC-A732-3EF4C5834F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715DA1-D7A5-49EA-A7F4-D83DD5679C2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27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460BF9-A20F-4BA2-B465-4A56FB77C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339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460BF9-A20F-4BA2-B465-4A56FB77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F5F65-2BA7-4B14-B170-2E7A963CDC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56E31529-EE77-49CA-B07E-2B5E28F191C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176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86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A4205E-11B4-4E2E-9C29-8E054330113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D2AEDA8-5880-4E81-8AA9-552B04E65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D2527D-E64F-4AAF-8A96-9133426279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3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5244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D893567-86AB-4279-8D5F-07B6D39EE5A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7C1B484-0589-46CA-BD14-67534F8CC1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5752E3-84B6-4441-96BD-77A4ABEDD2B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16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9635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2649CE-05A9-48DD-92AC-90ED9A0169E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51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3481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6244C1-EA2E-47F9-A10F-1508B50EF7F8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8953CE3-0CEC-42A1-A2B6-DD02E7600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A0084FE-F759-4EA9-B31D-03819119277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913787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984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DB60D0-DF1E-401E-9386-8ADCDA3CBCC5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BFA6297-6D10-4CB1-8665-B7361F923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9F9A676-A69D-44E6-85A4-9A60BA6847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89845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796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75810BAD-56F0-437E-AB0C-C00D3E6161FF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017D52-F038-4A25-968B-79202E2D6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672C3B-1746-4CA7-BD31-3DE659A7E1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406135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2050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658" y="3262145"/>
            <a:ext cx="131838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9437F-7F71-40A9-834E-DB34A3C52023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352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1615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9E71833-BCE9-43DC-97A6-F9A6A57C9EA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592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88302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" y="3606203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167" indent="0" algn="ctr">
              <a:buNone/>
              <a:defRPr sz="2000"/>
            </a:lvl2pPr>
            <a:lvl3pPr marL="914331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3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6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999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2" y="6286708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7" y="628670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9" y="6299524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22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94B70D-DA78-4133-AD7C-9C125CD35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11986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94B70D-DA78-4133-AD7C-9C125CD35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E422DE-E497-4640-9587-B926C33238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00FE91-9FE3-469E-AA34-2AAE56D2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0A64C1-857E-4E72-AAAC-5EF1B30EB9D4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67FEE1-4DD6-4D61-9126-07B309A3F8D9}"/>
              </a:ext>
            </a:extLst>
          </p:cNvPr>
          <p:cNvSpPr txBox="1"/>
          <p:nvPr userDrawn="1"/>
        </p:nvSpPr>
        <p:spPr>
          <a:xfrm>
            <a:off x="2194561" y="6320069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3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23754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B8B3E8-71F9-4C0F-A77C-14E2A550B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181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B8B3E8-71F9-4C0F-A77C-14E2A550B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3278EB-19D4-47C1-BC41-6FEAB9C8A6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83A785AE-AE13-46D0-89AC-564515DF654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8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7CE5A4-9DBE-452B-B1A7-06BD6A382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898608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7CE5A4-9DBE-452B-B1A7-06BD6A382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C5EC4D-38F6-49D9-A2A6-C238F53080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659" y="2681103"/>
            <a:ext cx="3609742" cy="1495794"/>
          </a:xfrm>
          <a:noFill/>
        </p:spPr>
        <p:txBody>
          <a:bodyPr vert="horz" wrap="square" lIns="0" tIns="45720" rIns="0" bIns="4572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4114F0-A2F8-44C7-A134-22D2C3572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92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36173E-B310-4716-9B29-7C07860DEF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00068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36173E-B310-4716-9B29-7C07860DEF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75C06-1CBD-410C-85E9-A5EFF8E48A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7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659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44DB1742-E92F-4264-9F3A-838B06BDD287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4E7BCB-2F98-4DD2-BBA1-BE2E0EB7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1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D9BE4-1868-4C0C-A22A-94A6A325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28260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D9BE4-1868-4C0C-A22A-94A6A325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39EE4B-E046-4E43-9878-0CFB2DB898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660" y="622803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54DB9121-3FDF-4E36-81FD-8CBE738A9BBA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030C99-BFBF-4F35-80E9-8AAE95B30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81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460BF9-A20F-4BA2-B465-4A56FB77C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339277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460BF9-A20F-4BA2-B465-4A56FB77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F5F65-2BA7-4B14-B170-2E7A963CDC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659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56E31529-EE77-49CA-B07E-2B5E28F191C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37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B8B3E8-71F9-4C0F-A77C-14E2A550B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18167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B8B3E8-71F9-4C0F-A77C-14E2A550B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3278EB-19D4-47C1-BC41-6FEAB9C8A6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9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83A785AE-AE13-46D0-89AC-564515DF654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566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3A7B4D-95CD-4AE1-AE8D-43D3327B7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49508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3A7B4D-95CD-4AE1-AE8D-43D3327B7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C53E5-9ED2-4E82-AFF1-90B69B12F7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3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4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61" y="1804650"/>
            <a:ext cx="6404894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C35BB9BD-9454-497B-B884-B1D29A012CA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04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F3201F-7543-4E9D-BD53-2057C237D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26371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F3201F-7543-4E9D-BD53-2057C237D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02F41-4D3D-4AD9-AA0F-AE543CF321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7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2764211"/>
            <a:ext cx="2635981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3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C6AF482C-58D2-46E3-ADDE-9F2934DB4AC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2718F-D4A8-460A-ACD4-35F87AF70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91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C96504-3966-4B1D-97BC-EDBCCA68D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96068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C96504-3966-4B1D-97BC-EDBCCA68D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97963D-3312-4A48-9C17-3DF889A5F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2764211"/>
            <a:ext cx="2635981" cy="1314311"/>
          </a:xfrm>
        </p:spPr>
        <p:txBody>
          <a:bodyPr vert="horz" lIns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6" y="3402836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7B87B61E-F1D4-43EC-AFC9-7D8A45F1558D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48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9842713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CBC27E-9BC6-4846-9145-7D850EE5D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8" y="3394400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7A03F1EB-2132-4238-97D0-5427A2F3E8F0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B6CC4A4-59F2-4B7F-A44E-AE1FE721CF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8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663192-C1D4-47D8-9B83-FA528821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991611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663192-C1D4-47D8-9B83-FA528821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6BC054-CCE5-4E78-A0E8-DC22E988F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61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2EACF901-2471-4635-A064-C84B3FB0471E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501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3A7B4D-95CD-4AE1-AE8D-43D3327B7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495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3A7B4D-95CD-4AE1-AE8D-43D3327B7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C53E5-9ED2-4E82-AFF1-90B69B12F7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804650"/>
            <a:ext cx="6404894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C35BB9BD-9454-497B-B884-B1D29A012CA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23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CA221-254A-4377-A964-767461649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87767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CA221-254A-4377-A964-767461649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FD763D-F21A-4F01-871B-2A472B89A6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3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9" y="622803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2F0055CB-782B-4CC0-AF89-DE41D5324DC7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81805A-3194-489F-A82B-841A9133D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05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189FA9-37D4-48A4-87E0-F2517B31D7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63679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189FA9-37D4-48A4-87E0-F2517B31D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1D6A43-8617-443A-B09E-B1F636589D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3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9" y="622803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7" y="3407811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3DE233AF-5611-4D70-A973-87FF4CFBA71C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33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6CDC6-32B5-4797-86DC-72C5A4B6B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59002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6CDC6-32B5-4797-86DC-72C5A4B6B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6E06BB4-54B2-42BE-93F6-A8392AC44B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4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60" y="622803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0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381278A5-2F2B-41F8-A9A9-96CA71AB5ECD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BF5C2C-32BB-4842-AD59-AC1F2CD0A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9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99332F-3EDF-4319-AC87-D52E33391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6172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99332F-3EDF-4319-AC87-D52E3339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BCF8EE-B3BC-4130-8C1A-42A864EBDA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4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60" y="622803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31" y="3407811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C4815D1C-F1FB-4507-9CB7-6F40560C5B2D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02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9A2C5A-D5FE-2E65-8281-816B518D96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2036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04" imgH="405" progId="TCLayout.ActiveDocument.1">
                  <p:embed/>
                </p:oleObj>
              </mc:Choice>
              <mc:Fallback>
                <p:oleObj name="think-cell 幻灯片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9A2C5A-D5FE-2E65-8281-816B518D9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4">
            <a:extLst>
              <a:ext uri="{FF2B5EF4-FFF2-40B4-BE49-F238E27FC236}">
                <a16:creationId xmlns:a16="http://schemas.microsoft.com/office/drawing/2014/main" id="{CF96D2AC-A8EA-AD27-3CCB-36162FB173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" b="955"/>
          <a:stretch/>
        </p:blipFill>
        <p:spPr>
          <a:xfrm>
            <a:off x="1527" y="0"/>
            <a:ext cx="12188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920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DA2CB-7FF8-4CFB-A652-684E59403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38235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DA2CB-7FF8-4CFB-A652-684E59403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EB680E-A139-474B-BE33-01A12B6671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660" y="2158995"/>
            <a:ext cx="3901342" cy="541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67" indent="0" algn="ctr">
              <a:buNone/>
              <a:defRPr sz="2000"/>
            </a:lvl2pPr>
            <a:lvl3pPr marL="914331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3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6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660" y="1227056"/>
            <a:ext cx="3901342" cy="664797"/>
          </a:xfrm>
        </p:spPr>
        <p:txBody>
          <a:bodyPr vert="horz" lIns="0" tIns="0" rIns="0" bIns="0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54F26-C665-4606-9A8F-D14E51201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D3B52D-4523-45C6-93FA-AA4D2DAE003F}"/>
              </a:ext>
            </a:extLst>
          </p:cNvPr>
          <p:cNvSpPr txBox="1"/>
          <p:nvPr userDrawn="1"/>
        </p:nvSpPr>
        <p:spPr>
          <a:xfrm>
            <a:off x="2194561" y="6320069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3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53190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C6112-A96D-4B61-8290-08899155E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31529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C6112-A96D-4B61-8290-08899155E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C92D75-C1F2-4BAD-BB4D-C8570B6999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7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659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2AF3FA62-8956-474A-BD27-571D1858A695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489DDD-336A-41A0-954C-9EFC0E0561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004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E46131-D60C-4AB8-9741-E3D3445EE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55162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E46131-D60C-4AB8-9741-E3D3445EE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DB581F-07A2-4744-8AF6-1250A80BF8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61" y="622808"/>
            <a:ext cx="6433871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9E67FB8E-1E92-48AC-8781-CA0439E5C42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F21E3D-1768-4FF1-8E30-6DAB14229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2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B55A6B-96AD-443A-8BE6-D7196A4B8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787294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B55A6B-96AD-443A-8BE6-D7196A4B8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1C9D1D1-54C8-40AA-9243-238FC6232D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1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622808"/>
            <a:ext cx="825892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DE5FF888-0717-4358-93C2-CC7F14E31E95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6F9B14-AF97-4688-9449-BF575EEC9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88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18204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659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328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F3201F-7543-4E9D-BD53-2057C237D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263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F3201F-7543-4E9D-BD53-2057C237D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02F41-4D3D-4AD9-AA0F-AE543CF321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C6AF482C-58D2-46E3-ADDE-9F2934DB4AC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2718F-D4A8-460A-ACD4-35F87AF70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8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9369B-8A66-4FA2-A3BA-152FECEA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96635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9369B-8A66-4FA2-A3BA-152FECEA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D1462-4579-4F8D-A893-B2E04C1143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9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 hidden="1">
            <a:extLst>
              <a:ext uri="{FF2B5EF4-FFF2-40B4-BE49-F238E27FC236}">
                <a16:creationId xmlns:a16="http://schemas.microsoft.com/office/drawing/2014/main" id="{91B38573-A25E-4C9D-B31A-B2A05C942777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77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C19B9-9588-464B-841B-4E0F598DE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83538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C19B9-9588-464B-841B-4E0F598DE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8CC25D-0595-4526-A34D-5963921747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4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60" y="1785600"/>
            <a:ext cx="6405830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5DBB44A7-3D49-46C4-90C4-337457E4DAC4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036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42349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DC6B61-8D66-4FF7-8087-0AEE5F87B1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7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2764211"/>
            <a:ext cx="2635981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3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 hidden="1">
            <a:extLst>
              <a:ext uri="{FF2B5EF4-FFF2-40B4-BE49-F238E27FC236}">
                <a16:creationId xmlns:a16="http://schemas.microsoft.com/office/drawing/2014/main" id="{8985EE07-872F-4546-8255-B1F7C3D3EE00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E21C828-CD0B-4330-AC77-38338CEB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97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93EF4C-1394-476A-823F-13E6F1417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8792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93EF4C-1394-476A-823F-13E6F1417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6760-4974-4DC7-9999-25DF3181F6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7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660" y="2764211"/>
            <a:ext cx="2635981" cy="1314311"/>
          </a:xfrm>
        </p:spPr>
        <p:txBody>
          <a:bodyPr vert="horz" l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6" y="3402836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5997ADEF-13E9-4A70-98F3-9D70123E1E27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25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69B887-2B13-4C8F-946E-E594927A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35095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69B887-2B13-4C8F-946E-E594927A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8B4775E-8277-4443-8882-027FE71887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8" y="3394400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8550E0E2-8275-4A3A-913E-F5434458093B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AACFB1-4FDE-49ED-ADA7-A182B4B0B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887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5A7C36-70AD-47B9-A14E-627B49FA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9654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5A7C36-70AD-47B9-A14E-627B49FA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B4FB58-4BD6-4978-A0FC-9FD983A9B3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61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165BFCFB-E1C8-4E88-9187-AA63CA2E600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827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163155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3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622808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91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733348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1" y="0"/>
            <a:ext cx="7486650" cy="6858000"/>
          </a:xfrm>
          <a:prstGeom prst="homePlate">
            <a:avLst>
              <a:gd name="adj" fmla="val 1224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8"/>
            <a:ext cx="6039575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234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414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73B82-53D5-4DFB-9CCC-3DDD34E83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75140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73B82-53D5-4DFB-9CCC-3DDD34E83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45807-4395-43CE-A733-45D90261B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3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622808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7" y="3407811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6AFF65ED-EACB-4733-9AB0-8F7027C3C08A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4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7521DA-F255-4067-808C-8D586F745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254836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7521DA-F255-4067-808C-8D586F745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C26B28-C269-4EB9-90B2-5897110D67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4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8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0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 hidden="1">
            <a:extLst>
              <a:ext uri="{FF2B5EF4-FFF2-40B4-BE49-F238E27FC236}">
                <a16:creationId xmlns:a16="http://schemas.microsoft.com/office/drawing/2014/main" id="{34BBF8DD-D31B-4FDE-A8D7-E1C68C47D3F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FAD55A-8215-43B0-8EDC-CF9D05EAE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59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C96504-3966-4B1D-97BC-EDBCCA68D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960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C96504-3966-4B1D-97BC-EDBCCA68D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97963D-3312-4A48-9C17-3DF889A5F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7B87B61E-F1D4-43EC-AFC9-7D8A45F155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0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F540FA-7567-4B2F-82E1-9079310B7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56527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F540FA-7567-4B2F-82E1-9079310B7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7AFDB6-6892-470D-B2AD-81DAF5AB8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4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8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31" y="3407811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95000311-5D31-442E-85EE-28CA374E2C22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038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FE13CB-8AEE-4F29-95FA-616822F7C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63507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FE13CB-8AEE-4F29-95FA-616822F7C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9" y="2609193"/>
            <a:ext cx="2976742" cy="16992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18F7360B-CC2F-47B4-B395-D1BB177963D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96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672900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DE62D58-417A-4C55-AEA2-87625FC3A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90" y="2786714"/>
            <a:ext cx="5749021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0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779170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661" y="3262151"/>
            <a:ext cx="131838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A539437F-7F71-40A9-834E-DB34A3C52023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265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34848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9" y="2609193"/>
            <a:ext cx="2976742" cy="16992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 hidden="1">
            <a:extLst>
              <a:ext uri="{FF2B5EF4-FFF2-40B4-BE49-F238E27FC236}">
                <a16:creationId xmlns:a16="http://schemas.microsoft.com/office/drawing/2014/main" id="{99E71833-BCE9-43DC-97A6-F9A6A57C9EA5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497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8CD941A-B4B4-2707-C20F-21A96E2CA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952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95" imgH="396" progId="TCLayout.ActiveDocument.1">
                  <p:embed/>
                </p:oleObj>
              </mc:Choice>
              <mc:Fallback>
                <p:oleObj name="think-cell 幻灯片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CD941A-B4B4-2707-C20F-21A96E2CA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87906723-E6E7-4EE0-BA2A-AF7D64B86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12188952" cy="832104"/>
          </a:xfrm>
        </p:spPr>
        <p:txBody>
          <a:bodyPr vert="horz" lIns="360000" tIns="36000" rIns="360000" bIns="108000" anchor="b"/>
          <a:lstStyle>
            <a:lvl1pPr>
              <a:lnSpc>
                <a:spcPct val="100000"/>
              </a:lnSpc>
              <a:defRPr sz="3200" b="1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B0ECAABD-2977-17D2-80F1-7F1E359C306B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829963"/>
            <a:ext cx="12192000" cy="0"/>
          </a:xfrm>
          <a:prstGeom prst="line">
            <a:avLst/>
          </a:prstGeom>
          <a:ln w="38100" cap="flat" cmpd="sng" algn="ctr">
            <a:solidFill>
              <a:srgbClr val="5C4A8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254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55496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2091447" y="-1309"/>
            <a:ext cx="1010055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2193756" y="134311"/>
            <a:ext cx="9582912" cy="442159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 b="1">
                <a:solidFill>
                  <a:schemeClr val="accent2"/>
                </a:solidFill>
                <a:latin typeface="+mj-ea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B0BA4C8-164C-3FA1-14BA-E0C19BEB2CD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194658" y="576470"/>
            <a:ext cx="9582010" cy="541687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50000"/>
              <a:buFont typeface="Wingdings" panose="05000000000000000000" pitchFamily="2" charset="2"/>
              <a:buChar char="n"/>
              <a:defRPr sz="1400">
                <a:solidFill>
                  <a:schemeClr val="tx2"/>
                </a:solidFill>
                <a:latin typeface="+mn-ea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67" indent="0" algn="ctr">
              <a:buNone/>
              <a:defRPr sz="2000"/>
            </a:lvl2pPr>
            <a:lvl3pPr marL="914331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3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6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5368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999683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020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9842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CBC27E-9BC6-4846-9145-7D850EE5D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7A03F1EB-2132-4238-97D0-5427A2F3E8F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B6CC4A4-59F2-4B7F-A44E-AE1FE721CF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5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2427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35E9FF-EA1E-4094-88C5-C05AFC65E7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C1BD50-8CC0-4C70-AF6A-E75C22DF26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3" y="0"/>
            <a:ext cx="12190815" cy="6858000"/>
          </a:xfrm>
          <a:prstGeom prst="rect">
            <a:avLst/>
          </a:prstGeom>
        </p:spPr>
      </p:pic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white">
          <a:xfrm>
            <a:off x="0" y="3602736"/>
            <a:ext cx="9848088" cy="996696"/>
          </a:xfrm>
          <a:prstGeom prst="rect">
            <a:avLst/>
          </a:prstGeom>
        </p:spPr>
        <p:txBody>
          <a:bodyPr lIns="685800" tIns="45720" rIns="457200" bIns="45720" anchor="t"/>
          <a:lstStyle>
            <a:lvl1pPr marL="0" indent="0" algn="l">
              <a:lnSpc>
                <a:spcPct val="140000"/>
              </a:lnSpc>
              <a:buNone/>
              <a:defRPr sz="200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0" y="1216152"/>
            <a:ext cx="9848088" cy="2386584"/>
          </a:xfrm>
          <a:prstGeom prst="rect">
            <a:avLst/>
          </a:prstGeom>
        </p:spPr>
        <p:txBody>
          <a:bodyPr lIns="685800" tIns="45720" rIns="457200" bIns="45720" anchor="b">
            <a:normAutofit/>
          </a:bodyPr>
          <a:lstStyle>
            <a:lvl1pPr algn="l">
              <a:lnSpc>
                <a:spcPct val="93000"/>
              </a:lnSpc>
              <a:defRPr lang="en-US" sz="50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ECBF22C-8BA9-47BC-B97A-5C9E5491C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72594EF-FBF0-4E9E-B131-651206D1BDA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21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663192-C1D4-47D8-9B83-FA528821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9916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663192-C1D4-47D8-9B83-FA528821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6BC054-CCE5-4E78-A0E8-DC22E988F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2EACF901-2471-4635-A064-C84B3FB0471E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554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CA221-254A-4377-A964-767461649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877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CA221-254A-4377-A964-767461649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FD763D-F21A-4F01-871B-2A472B89A6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2F0055CB-782B-4CC0-AF89-DE41D5324DC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81805A-3194-489F-A82B-841A9133D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3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189FA9-37D4-48A4-87E0-F2517B31D7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636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189FA9-37D4-48A4-87E0-F2517B31D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1D6A43-8617-443A-B09E-B1F636589D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3DE233AF-5611-4D70-A973-87FF4CFBA71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93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6CDC6-32B5-4797-86DC-72C5A4B6B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590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6CDC6-32B5-4797-86DC-72C5A4B6B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6E06BB4-54B2-42BE-93F6-A8392AC44B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381278A5-2F2B-41F8-A9A9-96CA71AB5E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BF5C2C-32BB-4842-AD59-AC1F2CD0A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1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99332F-3EDF-4319-AC87-D52E33391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61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99332F-3EDF-4319-AC87-D52E3339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BCF8EE-B3BC-4130-8C1A-42A864EBDA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C4815D1C-F1FB-4507-9CB7-6F40560C5B2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220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1DDBE9-65FD-4988-9128-A621DD77E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41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1DDBE9-65FD-4988-9128-A621DD77E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70AABF-AE4F-4189-A564-DB69ED7B79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ED1E4245-8CED-4EE8-B7D2-5067633E206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E97872-F948-4ABD-955F-F7B0E2BCBF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9357FA-315F-4A21-ADF1-B0A00920A0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43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DD5D8F-9E57-4422-B165-49B0B98E4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8633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DD5D8F-9E57-4422-B165-49B0B98E4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110812D-D3D2-49AA-AE7A-393DE62E3F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063441-3C0A-439D-B1DF-46F1DB455C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7C31BBB-1020-46E3-B1D6-6A6D85CF72C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80254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1867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24" imgH="324" progId="TCLayout.ActiveDocument.1">
                  <p:embed/>
                </p:oleObj>
              </mc:Choice>
              <mc:Fallback>
                <p:oleObj name="think-cell 幻灯片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97F7E97D-30EE-40D9-856F-59A8F89D8B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71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94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4234DD-8906-4B2C-86B2-FC42EE7D1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3664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4234DD-8906-4B2C-86B2-FC42EE7D1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082EFE-AE4F-4753-BA12-2DB7CB1442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470898"/>
          </a:xfrm>
        </p:spPr>
        <p:txBody>
          <a:bodyPr vert="horz" lIns="0"/>
          <a:lstStyle>
            <a:lvl1pPr>
              <a:defRPr sz="3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DDAB88BA-E242-4F85-9D75-75CDE19FD18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28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8F715B-D22C-49C6-B3AC-D5F1AA295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47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8F715B-D22C-49C6-B3AC-D5F1AA295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BB48FCF-91C9-477B-8B22-4DA423DF17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EC50707-6270-4C10-B300-562F308AD8BD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A4C9FB-4CC1-44B3-94D6-F6A3C654447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75985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C49E326-DBA2-4445-874C-2896611042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39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C49E326-DBA2-4445-874C-289661104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EBB1A6-86DA-418C-853E-6C5A10E82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kite, flying, colorful, holding&#10;&#10;Description automatically generated">
            <a:extLst>
              <a:ext uri="{FF2B5EF4-FFF2-40B4-BE49-F238E27FC236}">
                <a16:creationId xmlns:a16="http://schemas.microsoft.com/office/drawing/2014/main" id="{2E1494D2-3ABF-1A40-A28A-5B0540950E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260C3D-71AC-9643-BF42-E7CB8A8190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071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4A8F4E-CFF1-4233-9249-84E4C229A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2352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4A8F4E-CFF1-4233-9249-84E4C229A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 hidden="1">
            <a:extLst>
              <a:ext uri="{FF2B5EF4-FFF2-40B4-BE49-F238E27FC236}">
                <a16:creationId xmlns:a16="http://schemas.microsoft.com/office/drawing/2014/main" id="{DC9C5BEB-A0C9-49F7-AD0C-2A3E1447735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409B0C3-DE28-4015-BA6B-BEE7023BEE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65CB76-87ED-48D1-BB46-2AE81DF6DD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07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148DDD-B54A-42E3-A874-08D6674E3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24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148DDD-B54A-42E3-A874-08D6674E3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A6745807-C4EE-41DF-9B46-959DAC5204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8B3F28C-2C8F-437A-9374-C6C9F47E3271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B7EC9F-9CA9-49E2-A475-FCF1CB565A9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617080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745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98AEB1A-E0D0-4920-BE87-406F722D6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83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B63DB-FE12-4864-AD4A-41FDE6A89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151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9B63DB-FE12-4864-AD4A-41FDE6A89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085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780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6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9D99E9-D699-49DD-B838-EFF0878D7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511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9D99E9-D699-49DD-B838-EFF0878D7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109FBD-1B10-4968-9F1F-1426F488C5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939BBA-66F0-4589-B013-1893D90DB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16593B-988D-4294-A50A-337E70736DD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0C4716-0C84-4B08-9953-BCFE97D36A8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lIns="4572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813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9D99E9-D699-49DD-B838-EFF0878D7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511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9D99E9-D699-49DD-B838-EFF0878D7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109FBD-1B10-4968-9F1F-1426F488C5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16593B-988D-4294-A50A-337E70736DD7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lIns="4572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706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DC70C-1C9C-4E9E-B370-A4CA068F42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405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DC70C-1C9C-4E9E-B370-A4CA068F42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E6BAEB-13EE-40DB-BE16-2C2BC675F0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83350D-E0F2-4B2C-A667-56A37AD77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1AF74D-E1D7-4689-9E67-4A16A4CAE28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F78219-3A5C-4A4D-866D-B53A45248D9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84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DA2CB-7FF8-4CFB-A652-684E59403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382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DA2CB-7FF8-4CFB-A652-684E59403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EB680E-A139-474B-BE33-01A12B6671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658" y="2158987"/>
            <a:ext cx="3901342" cy="541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1227048"/>
            <a:ext cx="3901342" cy="664797"/>
          </a:xfrm>
        </p:spPr>
        <p:txBody>
          <a:bodyPr vert="horz" lIns="0" tIns="0" rIns="0" bIns="0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54F26-C665-4606-9A8F-D14E51201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D3B52D-4523-45C6-93FA-AA4D2DAE003F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96287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9FE2CA-F5BD-459D-B701-FB8A0A61B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3352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9FE2CA-F5BD-459D-B701-FB8A0A61B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34DD15-6E7C-4608-A41D-DB90A88166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E3E83C6-BB5A-4F84-95E2-2B86C8A0F7A5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1D8BD40-F4DC-49DE-9393-164D35A11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EC768D-CEDE-4487-A74F-8DE3B3F1552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59245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3D9DF1-FCEF-430D-A893-2CC47EDD5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195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3D9DF1-FCEF-430D-A893-2CC47EDD5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E02592-B39D-4838-88A5-DF3E3690C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3117785-64E2-FD4A-8AA9-5DDF6A61A1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76737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CB942A-9589-4A44-9EB1-43210906E31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54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DD4ED-ADCE-4880-9BC8-443A0A811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64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DD4ED-ADCE-4880-9BC8-443A0A811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4BBBC4-DBB7-4ADD-9E58-809481FB6F6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lIns="0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E17A41D-95A9-412A-8B78-54DBB87F73D0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24093D-CB16-42C8-B28B-3BF961E4C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88C6105-A5C3-44E4-AD52-3C83B394F1E1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39809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C6112-A96D-4B61-8290-08899155E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315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C6112-A96D-4B61-8290-08899155E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C92D75-C1F2-4BAD-BB4D-C8570B6999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2AF3FA62-8956-474A-BD27-571D1858A6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489DDD-336A-41A0-954C-9EFC0E0561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34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E46131-D60C-4AB8-9741-E3D3445EE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551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E46131-D60C-4AB8-9741-E3D3445EE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DB581F-07A2-4744-8AF6-1250A80BF8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33871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9E67FB8E-1E92-48AC-8781-CA0439E5C42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F21E3D-1768-4FF1-8E30-6DAB14229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9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B55A6B-96AD-443A-8BE6-D7196A4B8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7872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B55A6B-96AD-443A-8BE6-D7196A4B8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1C9D1D1-54C8-40AA-9243-238FC6232D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8258926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DE5FF888-0717-4358-93C2-CC7F14E31E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6F9B14-AF97-4688-9449-BF575EEC9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344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18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84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9369B-8A66-4FA2-A3BA-152FECEA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966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9369B-8A66-4FA2-A3BA-152FECEA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D1462-4579-4F8D-A893-B2E04C1143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 hidden="1">
            <a:extLst>
              <a:ext uri="{FF2B5EF4-FFF2-40B4-BE49-F238E27FC236}">
                <a16:creationId xmlns:a16="http://schemas.microsoft.com/office/drawing/2014/main" id="{91B38573-A25E-4C9D-B31A-B2A05C94277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06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C19B9-9588-464B-841B-4E0F598DE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835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C19B9-9588-464B-841B-4E0F598DE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8CC25D-0595-4526-A34D-5963921747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6405830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5DBB44A7-3D49-46C4-90C4-337457E4DAC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18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42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DC6B61-8D66-4FF7-8087-0AEE5F87B1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 hidden="1">
            <a:extLst>
              <a:ext uri="{FF2B5EF4-FFF2-40B4-BE49-F238E27FC236}">
                <a16:creationId xmlns:a16="http://schemas.microsoft.com/office/drawing/2014/main" id="{8985EE07-872F-4546-8255-B1F7C3D3EE0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E21C828-CD0B-4330-AC77-38338CEB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8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93EF4C-1394-476A-823F-13E6F1417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87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93EF4C-1394-476A-823F-13E6F1417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6760-4974-4DC7-9999-25DF3181F6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5997ADEF-13E9-4A70-98F3-9D70123E1E2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64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69B887-2B13-4C8F-946E-E594927A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350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69B887-2B13-4C8F-946E-E594927A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8B4775E-8277-4443-8882-027FE71887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8550E0E2-8275-4A3A-913E-F5434458093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AACFB1-4FDE-49ED-ADA7-A182B4B0B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04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26FC7E-B5D2-403D-B518-88504CD8F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77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26FC7E-B5D2-403D-B518-88504CD8F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214AE5-C8F9-4F26-96E9-71CC547EA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skiing, snow, glasses, wine&#10;&#10;Description automatically generated">
            <a:extLst>
              <a:ext uri="{FF2B5EF4-FFF2-40B4-BE49-F238E27FC236}">
                <a16:creationId xmlns:a16="http://schemas.microsoft.com/office/drawing/2014/main" id="{10350442-1ABA-794B-8690-5B687B03A8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DA067C-8F4D-A347-9838-60DDA130F66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83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5A7C36-70AD-47B9-A14E-627B49FA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96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5A7C36-70AD-47B9-A14E-627B49FA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B4FB58-4BD6-4978-A0FC-9FD983A9B3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165BFCFB-E1C8-4E88-9187-AA63CA2E600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56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1631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771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73B82-53D5-4DFB-9CCC-3DDD34E83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751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73B82-53D5-4DFB-9CCC-3DDD34E83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45807-4395-43CE-A733-45D90261B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6AFF65ED-EACB-4733-9AB0-8F7027C3C08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0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7521DA-F255-4067-808C-8D586F745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2548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7521DA-F255-4067-808C-8D586F745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C26B28-C269-4EB9-90B2-5897110D67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 hidden="1">
            <a:extLst>
              <a:ext uri="{FF2B5EF4-FFF2-40B4-BE49-F238E27FC236}">
                <a16:creationId xmlns:a16="http://schemas.microsoft.com/office/drawing/2014/main" id="{34BBF8DD-D31B-4FDE-A8D7-E1C68C47D3F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FAD55A-8215-43B0-8EDC-CF9D05EAE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68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F540FA-7567-4B2F-82E1-9079310B7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565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F540FA-7567-4B2F-82E1-9079310B7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7AFDB6-6892-470D-B2AD-81DAF5AB8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95000311-5D31-442E-85EE-28CA374E2C2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08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2C8FA-CE5C-4408-854B-AC23B40E8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560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2C8FA-CE5C-4408-854B-AC23B40E8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9165616-EA7E-4D0E-B74A-F91B0BD573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0E64DDA3-4ED6-45BF-AEDE-3CB64F40EA0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7B46AC5-A3B5-4681-BE90-824697C03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4A8EAD-E176-4539-86F9-EC73F4C535C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13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9F9065-0E22-4E32-800E-137DEFB3B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04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9F9065-0E22-4E32-800E-137DEFB3B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A5F1DA-3DFC-47CD-90BD-9068D02E26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0995EA-3202-42C8-B94C-D542DA25477E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3C1EA6-B16B-421C-AAC9-E5D290921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17BFF3-D96F-446A-8B0C-E86D1E3459D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83024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3843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8E087680-35E3-453F-AF01-53601FCE7C6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02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B4B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A175C1-DC26-4FD0-87C7-BD23A645D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787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A175C1-DC26-4FD0-87C7-BD23A645D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DB389B-860E-40E8-AC38-CC983BD40E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332399"/>
          </a:xfrm>
        </p:spPr>
        <p:txBody>
          <a:bodyPr vert="horz" l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38811E0E-4CB4-4123-AF03-85175905E4C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462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FE13CB-8AEE-4F29-95FA-616822F7C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63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FE13CB-8AEE-4F29-95FA-616822F7C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18F7360B-CC2F-47B4-B395-D1BB177963D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62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EMPLOYE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EFA9AF-5D73-4A5C-95AB-BDC831988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7980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EFA9AF-5D73-4A5C-95AB-BDC831988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5669CD8-0ABE-4488-B58F-8793A81E5B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erson in glasses looking at the camera&#10;&#10;Description automatically generated">
            <a:extLst>
              <a:ext uri="{FF2B5EF4-FFF2-40B4-BE49-F238E27FC236}">
                <a16:creationId xmlns:a16="http://schemas.microsoft.com/office/drawing/2014/main" id="{CF469644-5102-984E-9572-AD8DA6E7B7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713316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713316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9FC614-B6BA-8E44-85B3-8D5561EB885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5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B54EDB-E442-4474-B407-4BE7EB22B2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814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B54EDB-E442-4474-B407-4BE7EB22B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>
            <a:extLst>
              <a:ext uri="{FF2B5EF4-FFF2-40B4-BE49-F238E27FC236}">
                <a16:creationId xmlns:a16="http://schemas.microsoft.com/office/drawing/2014/main" id="{86FB7315-01D7-4A6E-AA2A-EA6B32CC554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82A0769-A4D2-4682-8A44-39467471C5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0B2B7BA-013C-4DFD-B152-C4D9BE3873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43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3D5FDBA-D1AA-421F-84E5-80647FFAA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090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3D5FDBA-D1AA-421F-84E5-80647FFAA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7BB428D-2EFA-4708-AB0A-FCF3726957AE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2AAC51-40BA-47A0-810A-3E9E77959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911923-2719-48CE-8A7A-1EA6FB02E59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0722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4584B5-037D-4D0E-AE3F-7F004DDC1B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810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4584B5-037D-4D0E-AE3F-7F004DDC1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4E755B5-EEBC-40F6-A9F2-A66FD0CD4753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64DBC5-8EC8-47CB-9179-F7B810F2F0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0D4599-3F15-49F6-A3AA-519E131402EE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54866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672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DE62D58-417A-4C55-AEA2-87625FC3A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2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C556E-5BF3-471B-A5EA-32A4AD580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09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C556E-5BF3-471B-A5EA-32A4AD580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378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6857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7472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16B9DEE2-BCCC-4311-973D-744B08CF9A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336E713-A119-4AAC-A732-3EF4C5834F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715DA1-D7A5-49EA-A7F4-D83DD5679C2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68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147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0DA4205E-11B4-4E2E-9C29-8E054330113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D2AEDA8-5880-4E81-8AA9-552B04E65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D2527D-E64F-4AAF-8A96-9133426279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72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099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2D893567-86AB-4279-8D5F-07B6D39EE5A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7C1B484-0589-46CA-BD14-67534F8CC1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5752E3-84B6-4441-96BD-77A4ABEDD2B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67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38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1C2649CE-05A9-48DD-92AC-90ED9A0169E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771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601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6244C1-EA2E-47F9-A10F-1508B50EF7F8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8953CE3-0CEC-42A1-A2B6-DD02E7600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A0084FE-F759-4EA9-B31D-03819119277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25392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60AC594-74DD-41E5-9BEC-4966C0107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91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60AC594-74DD-41E5-9BEC-4966C0107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F52649-1FB2-4029-98F5-7CF548E925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erson posing for a picture&#10;&#10;Description automatically generated">
            <a:extLst>
              <a:ext uri="{FF2B5EF4-FFF2-40B4-BE49-F238E27FC236}">
                <a16:creationId xmlns:a16="http://schemas.microsoft.com/office/drawing/2014/main" id="{D8D01114-7F3C-2749-A486-BC146ACB85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49945A-EDAB-BC4A-B552-AFEEDD3CB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11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804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DB60D0-DF1E-401E-9386-8ADCDA3CBCC5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BFA6297-6D10-4CB1-8665-B7361F923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9F9A676-A69D-44E6-85A4-9A60BA6847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697426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903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75810BAD-56F0-437E-AB0C-C00D3E6161FF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017D52-F038-4A25-968B-79202E2D6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672C3B-1746-4CA7-BD31-3DE659A7E1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94352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779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658" y="3262145"/>
            <a:ext cx="131838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A539437F-7F71-40A9-834E-DB34A3C52023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330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34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 hidden="1">
            <a:extLst>
              <a:ext uri="{FF2B5EF4-FFF2-40B4-BE49-F238E27FC236}">
                <a16:creationId xmlns:a16="http://schemas.microsoft.com/office/drawing/2014/main" id="{99E71833-BCE9-43DC-97A6-F9A6A57C9EA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44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883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52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8382DF-DD0E-40F7-835E-30AACFFFD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619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8382DF-DD0E-40F7-835E-30AACFFFD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5AD27D-C3CA-4C43-BA71-7BB13B72F5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descr="A picture containing kite, outdoor, flying, water&#10;&#10;Description automatically generated">
            <a:extLst>
              <a:ext uri="{FF2B5EF4-FFF2-40B4-BE49-F238E27FC236}">
                <a16:creationId xmlns:a16="http://schemas.microsoft.com/office/drawing/2014/main" id="{90FC3857-900F-3142-8241-2E22BF9427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82B868-0DD5-47D8-948F-1846207FB0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6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2427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35E9FF-EA1E-4094-88C5-C05AFC65E7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C1BD50-8CC0-4C70-AF6A-E75C22DF26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3" y="0"/>
            <a:ext cx="12190815" cy="6858000"/>
          </a:xfrm>
          <a:prstGeom prst="rect">
            <a:avLst/>
          </a:prstGeom>
        </p:spPr>
      </p:pic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white">
          <a:xfrm>
            <a:off x="0" y="3602736"/>
            <a:ext cx="9848088" cy="996696"/>
          </a:xfrm>
          <a:prstGeom prst="rect">
            <a:avLst/>
          </a:prstGeom>
        </p:spPr>
        <p:txBody>
          <a:bodyPr lIns="685800" tIns="45720" rIns="457200" bIns="45720" anchor="t"/>
          <a:lstStyle>
            <a:lvl1pPr marL="0" indent="0" algn="l">
              <a:lnSpc>
                <a:spcPct val="140000"/>
              </a:lnSpc>
              <a:buNone/>
              <a:defRPr sz="200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0" y="1216152"/>
            <a:ext cx="9848088" cy="2386584"/>
          </a:xfrm>
          <a:prstGeom prst="rect">
            <a:avLst/>
          </a:prstGeom>
        </p:spPr>
        <p:txBody>
          <a:bodyPr lIns="685800" tIns="45720" rIns="457200" bIns="45720" anchor="b">
            <a:normAutofit/>
          </a:bodyPr>
          <a:lstStyle>
            <a:lvl1pPr algn="l">
              <a:lnSpc>
                <a:spcPct val="93000"/>
              </a:lnSpc>
              <a:defRPr lang="en-US" sz="50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ECBF22C-8BA9-47BC-B97A-5C9E5491C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72594EF-FBF0-4E9E-B131-651206D1BDA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95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C49E326-DBA2-4445-874C-2896611042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39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C49E326-DBA2-4445-874C-289661104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EBB1A6-86DA-418C-853E-6C5A10E82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kite, flying, colorful, holding&#10;&#10;Description automatically generated">
            <a:extLst>
              <a:ext uri="{FF2B5EF4-FFF2-40B4-BE49-F238E27FC236}">
                <a16:creationId xmlns:a16="http://schemas.microsoft.com/office/drawing/2014/main" id="{2E1494D2-3ABF-1A40-A28A-5B0540950E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260C3D-71AC-9643-BF42-E7CB8A8190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21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3D9DF1-FCEF-430D-A893-2CC47EDD5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195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3D9DF1-FCEF-430D-A893-2CC47EDD5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E02592-B39D-4838-88A5-DF3E3690C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3117785-64E2-FD4A-8AA9-5DDF6A61A1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76737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CB942A-9589-4A44-9EB1-43210906E31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14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26FC7E-B5D2-403D-B518-88504CD8F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77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26FC7E-B5D2-403D-B518-88504CD8F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214AE5-C8F9-4F26-96E9-71CC547EA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skiing, snow, glasses, wine&#10;&#10;Description automatically generated">
            <a:extLst>
              <a:ext uri="{FF2B5EF4-FFF2-40B4-BE49-F238E27FC236}">
                <a16:creationId xmlns:a16="http://schemas.microsoft.com/office/drawing/2014/main" id="{10350442-1ABA-794B-8690-5B687B03A8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DA067C-8F4D-A347-9838-60DDA130F66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12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8E99FA-EA61-4A50-84AE-4C4EAD1894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8690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B8E99FA-EA61-4A50-84AE-4C4EAD189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1E92761-0247-484E-97B2-2DC3B22194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outdoor, kite, water, flying&#10;&#10;Description automatically generated">
            <a:extLst>
              <a:ext uri="{FF2B5EF4-FFF2-40B4-BE49-F238E27FC236}">
                <a16:creationId xmlns:a16="http://schemas.microsoft.com/office/drawing/2014/main" id="{366E0882-F7F2-0149-9EA1-94865E490E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C666A0-3DF3-3045-9819-C70A66AB80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84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EMPLOYE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EFA9AF-5D73-4A5C-95AB-BDC831988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7980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EFA9AF-5D73-4A5C-95AB-BDC831988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5669CD8-0ABE-4488-B58F-8793A81E5B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erson in glasses looking at the camera&#10;&#10;Description automatically generated">
            <a:extLst>
              <a:ext uri="{FF2B5EF4-FFF2-40B4-BE49-F238E27FC236}">
                <a16:creationId xmlns:a16="http://schemas.microsoft.com/office/drawing/2014/main" id="{CF469644-5102-984E-9572-AD8DA6E7B7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713316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713316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9FC614-B6BA-8E44-85B3-8D5561EB885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07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60AC594-74DD-41E5-9BEC-4966C0107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91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60AC594-74DD-41E5-9BEC-4966C0107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F52649-1FB2-4029-98F5-7CF548E925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erson posing for a picture&#10;&#10;Description automatically generated">
            <a:extLst>
              <a:ext uri="{FF2B5EF4-FFF2-40B4-BE49-F238E27FC236}">
                <a16:creationId xmlns:a16="http://schemas.microsoft.com/office/drawing/2014/main" id="{D8D01114-7F3C-2749-A486-BC146ACB85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49945A-EDAB-BC4A-B552-AFEEDD3CB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53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8E99FA-EA61-4A50-84AE-4C4EAD1894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8690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B8E99FA-EA61-4A50-84AE-4C4EAD189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1E92761-0247-484E-97B2-2DC3B22194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outdoor, kite, water, flying&#10;&#10;Description automatically generated">
            <a:extLst>
              <a:ext uri="{FF2B5EF4-FFF2-40B4-BE49-F238E27FC236}">
                <a16:creationId xmlns:a16="http://schemas.microsoft.com/office/drawing/2014/main" id="{366E0882-F7F2-0149-9EA1-94865E490E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C666A0-3DF3-3045-9819-C70A66AB80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57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PATI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2ADBD7-DF1A-43E7-8670-644A11CBC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2ADBD7-DF1A-43E7-8670-644A11CBC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809290-9878-4C53-A06D-14002EA3D9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person, kite, young, outdoor&#10;&#10;Description automatically generated">
            <a:extLst>
              <a:ext uri="{FF2B5EF4-FFF2-40B4-BE49-F238E27FC236}">
                <a16:creationId xmlns:a16="http://schemas.microsoft.com/office/drawing/2014/main" id="{AF5E436E-E530-BD48-A250-B19CE7BB47B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45867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6458673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089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938CA3-0A88-445C-8BD1-B883D6BE3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031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938CA3-0A88-445C-8BD1-B883D6BE3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AA295D-24AB-418C-AC6A-1A5F298A92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DA1D3B9-451E-734F-A3EF-58101E42FA2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BA73ACB-DF2B-E047-BE7F-5C5F9F4C9ECF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10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29682217-4946-4443-80FD-6FD67D5AF1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8623AD-36AB-444F-AB29-6BFF9E7DE75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9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B6FC61-B9D5-4F53-A9F8-80380D75F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01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B6FC61-B9D5-4F53-A9F8-80380D75F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CCF4678-F81C-4F1B-AC0E-311DED24DE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79DA33-BCFD-9F45-B6D4-22FE49B78DFE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DCEB8AF-7F6A-0D4C-83B7-53031C27485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307BE9C4-703B-564E-90C1-9C8B1D6835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AB49F2-700C-5949-B8E7-D5C45078042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05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F72DE-1E77-4CF8-AB31-BE226257E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567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F72DE-1E77-4CF8-AB31-BE226257E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4F23D18-C4E3-44D8-98DB-95D000973C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784D509-72FC-F74E-A9A4-CD7B32288EE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B4A277E-6D86-AB40-A0AB-84F3B75E851D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2" name="Picture 11" descr="A picture containing kite, flying, cat&#10;&#10;Description automatically generated">
              <a:extLst>
                <a:ext uri="{FF2B5EF4-FFF2-40B4-BE49-F238E27FC236}">
                  <a16:creationId xmlns:a16="http://schemas.microsoft.com/office/drawing/2014/main" id="{D5DBBE89-68C9-994F-8156-45233AC1E1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rgbClr val="2A276E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4560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2A276E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rgbClr val="2A276E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3ABB6C3-EA7D-E044-A817-5D2E5634B43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300128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98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98DD6D-4CB4-41B2-A6EB-106DE8DB8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20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98DD6D-4CB4-41B2-A6EB-106DE8DB8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B75437-06D4-4ABC-B060-E2777D4245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98E3A6-B93D-5849-BBEB-BD7566DBD12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E79B97-FABA-944E-AACE-BF4324FA4FB1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370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9AD5963-5D15-8241-82B5-07EB125BD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5C1A98-31EF-5A42-BDDE-11EFCFC6EF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D30977D-5C4C-0345-B29D-F3EEC80FB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FF4B651-A3DD-164E-A86F-87AAFD959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5787EE-EE4E-EC4B-B6AC-8A6A90F9D0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2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727105-51C1-4E4A-9888-1325C5102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2005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727105-51C1-4E4A-9888-1325C5102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A389C9-B88A-493F-AB9C-5AD7DF862E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F423A7B-3CC5-994C-B190-7FA28B4CEA92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64D83F-BFE8-4040-AC92-D096E8A80B07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9E03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" name="Picture 3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452F6A8-4D1F-8C42-901A-1E7A629B99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2E334D-8C7D-284C-A54B-CC8ACECB21B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46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EAADC82-591B-490C-B13F-D6EC88661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14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EAADC82-591B-490C-B13F-D6EC88661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4BD5EC-3529-482E-8270-0CAB368BBF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5FB0D0-83F6-374E-ADDA-06AB649261F6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7F8EC9-EFC7-A640-A457-FBC5B1592F1B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5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ED0056ED-496B-4C43-8890-ED2BBFEC9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4DA361-7D67-0B4D-9E01-929C534B9D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4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theme" Target="../theme/theme1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oleObject" Target="../embeddings/oleObject1.bin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04.xml"/><Relationship Id="rId42" Type="http://schemas.openxmlformats.org/officeDocument/2006/relationships/slideLayout" Target="../slideLayouts/slideLayout125.xml"/><Relationship Id="rId47" Type="http://schemas.openxmlformats.org/officeDocument/2006/relationships/slideLayout" Target="../slideLayouts/slideLayout130.xml"/><Relationship Id="rId63" Type="http://schemas.openxmlformats.org/officeDocument/2006/relationships/slideLayout" Target="../slideLayouts/slideLayout146.xml"/><Relationship Id="rId68" Type="http://schemas.openxmlformats.org/officeDocument/2006/relationships/slideLayout" Target="../slideLayouts/slideLayout151.xml"/><Relationship Id="rId84" Type="http://schemas.openxmlformats.org/officeDocument/2006/relationships/tags" Target="../tags/tag150.xml"/><Relationship Id="rId1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15.xml"/><Relationship Id="rId37" Type="http://schemas.openxmlformats.org/officeDocument/2006/relationships/slideLayout" Target="../slideLayouts/slideLayout120.xml"/><Relationship Id="rId53" Type="http://schemas.openxmlformats.org/officeDocument/2006/relationships/slideLayout" Target="../slideLayouts/slideLayout136.xml"/><Relationship Id="rId58" Type="http://schemas.openxmlformats.org/officeDocument/2006/relationships/slideLayout" Target="../slideLayouts/slideLayout141.xml"/><Relationship Id="rId74" Type="http://schemas.openxmlformats.org/officeDocument/2006/relationships/slideLayout" Target="../slideLayouts/slideLayout157.xml"/><Relationship Id="rId79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slideLayout" Target="../slideLayouts/slideLayout118.xml"/><Relationship Id="rId43" Type="http://schemas.openxmlformats.org/officeDocument/2006/relationships/slideLayout" Target="../slideLayouts/slideLayout126.xml"/><Relationship Id="rId48" Type="http://schemas.openxmlformats.org/officeDocument/2006/relationships/slideLayout" Target="../slideLayouts/slideLayout131.xml"/><Relationship Id="rId56" Type="http://schemas.openxmlformats.org/officeDocument/2006/relationships/slideLayout" Target="../slideLayouts/slideLayout139.xml"/><Relationship Id="rId64" Type="http://schemas.openxmlformats.org/officeDocument/2006/relationships/slideLayout" Target="../slideLayouts/slideLayout147.xml"/><Relationship Id="rId69" Type="http://schemas.openxmlformats.org/officeDocument/2006/relationships/slideLayout" Target="../slideLayouts/slideLayout152.xml"/><Relationship Id="rId77" Type="http://schemas.openxmlformats.org/officeDocument/2006/relationships/slideLayout" Target="../slideLayouts/slideLayout160.xml"/><Relationship Id="rId8" Type="http://schemas.openxmlformats.org/officeDocument/2006/relationships/slideLayout" Target="../slideLayouts/slideLayout91.xml"/><Relationship Id="rId51" Type="http://schemas.openxmlformats.org/officeDocument/2006/relationships/slideLayout" Target="../slideLayouts/slideLayout134.xml"/><Relationship Id="rId72" Type="http://schemas.openxmlformats.org/officeDocument/2006/relationships/slideLayout" Target="../slideLayouts/slideLayout155.xml"/><Relationship Id="rId80" Type="http://schemas.openxmlformats.org/officeDocument/2006/relationships/slideLayout" Target="../slideLayouts/slideLayout163.xml"/><Relationship Id="rId85" Type="http://schemas.openxmlformats.org/officeDocument/2006/relationships/tags" Target="../tags/tag151.xml"/><Relationship Id="rId3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38" Type="http://schemas.openxmlformats.org/officeDocument/2006/relationships/slideLayout" Target="../slideLayouts/slideLayout121.xml"/><Relationship Id="rId46" Type="http://schemas.openxmlformats.org/officeDocument/2006/relationships/slideLayout" Target="../slideLayouts/slideLayout129.xml"/><Relationship Id="rId59" Type="http://schemas.openxmlformats.org/officeDocument/2006/relationships/slideLayout" Target="../slideLayouts/slideLayout142.xml"/><Relationship Id="rId67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03.xml"/><Relationship Id="rId41" Type="http://schemas.openxmlformats.org/officeDocument/2006/relationships/slideLayout" Target="../slideLayouts/slideLayout124.xml"/><Relationship Id="rId54" Type="http://schemas.openxmlformats.org/officeDocument/2006/relationships/slideLayout" Target="../slideLayouts/slideLayout137.xml"/><Relationship Id="rId62" Type="http://schemas.openxmlformats.org/officeDocument/2006/relationships/slideLayout" Target="../slideLayouts/slideLayout145.xml"/><Relationship Id="rId70" Type="http://schemas.openxmlformats.org/officeDocument/2006/relationships/slideLayout" Target="../slideLayouts/slideLayout153.xml"/><Relationship Id="rId75" Type="http://schemas.openxmlformats.org/officeDocument/2006/relationships/slideLayout" Target="../slideLayouts/slideLayout158.xml"/><Relationship Id="rId83" Type="http://schemas.openxmlformats.org/officeDocument/2006/relationships/theme" Target="../theme/theme2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slideLayout" Target="../slideLayouts/slideLayout119.xml"/><Relationship Id="rId49" Type="http://schemas.openxmlformats.org/officeDocument/2006/relationships/slideLayout" Target="../slideLayouts/slideLayout132.xml"/><Relationship Id="rId57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14.xml"/><Relationship Id="rId44" Type="http://schemas.openxmlformats.org/officeDocument/2006/relationships/slideLayout" Target="../slideLayouts/slideLayout127.xml"/><Relationship Id="rId52" Type="http://schemas.openxmlformats.org/officeDocument/2006/relationships/slideLayout" Target="../slideLayouts/slideLayout135.xml"/><Relationship Id="rId60" Type="http://schemas.openxmlformats.org/officeDocument/2006/relationships/slideLayout" Target="../slideLayouts/slideLayout143.xml"/><Relationship Id="rId65" Type="http://schemas.openxmlformats.org/officeDocument/2006/relationships/slideLayout" Target="../slideLayouts/slideLayout148.xml"/><Relationship Id="rId73" Type="http://schemas.openxmlformats.org/officeDocument/2006/relationships/slideLayout" Target="../slideLayouts/slideLayout156.xml"/><Relationship Id="rId78" Type="http://schemas.openxmlformats.org/officeDocument/2006/relationships/slideLayout" Target="../slideLayouts/slideLayout161.xml"/><Relationship Id="rId81" Type="http://schemas.openxmlformats.org/officeDocument/2006/relationships/slideLayout" Target="../slideLayouts/slideLayout164.xml"/><Relationship Id="rId86" Type="http://schemas.openxmlformats.org/officeDocument/2006/relationships/oleObject" Target="../embeddings/oleObject85.bin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39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117.xml"/><Relationship Id="rId50" Type="http://schemas.openxmlformats.org/officeDocument/2006/relationships/slideLayout" Target="../slideLayouts/slideLayout133.xml"/><Relationship Id="rId55" Type="http://schemas.openxmlformats.org/officeDocument/2006/relationships/slideLayout" Target="../slideLayouts/slideLayout138.xml"/><Relationship Id="rId76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90.xml"/><Relationship Id="rId71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07.xml"/><Relationship Id="rId40" Type="http://schemas.openxmlformats.org/officeDocument/2006/relationships/slideLayout" Target="../slideLayouts/slideLayout123.xml"/><Relationship Id="rId45" Type="http://schemas.openxmlformats.org/officeDocument/2006/relationships/slideLayout" Target="../slideLayouts/slideLayout128.xml"/><Relationship Id="rId66" Type="http://schemas.openxmlformats.org/officeDocument/2006/relationships/slideLayout" Target="../slideLayouts/slideLayout149.xml"/><Relationship Id="rId87" Type="http://schemas.openxmlformats.org/officeDocument/2006/relationships/image" Target="../media/image1.emf"/><Relationship Id="rId61" Type="http://schemas.openxmlformats.org/officeDocument/2006/relationships/slideLayout" Target="../slideLayouts/slideLayout144.xml"/><Relationship Id="rId82" Type="http://schemas.openxmlformats.org/officeDocument/2006/relationships/slideLayout" Target="../slideLayouts/slideLayout165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1.xml"/><Relationship Id="rId21" Type="http://schemas.openxmlformats.org/officeDocument/2006/relationships/slideLayout" Target="../slideLayouts/slideLayout186.xml"/><Relationship Id="rId42" Type="http://schemas.openxmlformats.org/officeDocument/2006/relationships/slideLayout" Target="../slideLayouts/slideLayout207.xml"/><Relationship Id="rId47" Type="http://schemas.openxmlformats.org/officeDocument/2006/relationships/slideLayout" Target="../slideLayouts/slideLayout212.xml"/><Relationship Id="rId63" Type="http://schemas.openxmlformats.org/officeDocument/2006/relationships/slideLayout" Target="../slideLayouts/slideLayout228.xml"/><Relationship Id="rId68" Type="http://schemas.openxmlformats.org/officeDocument/2006/relationships/slideLayout" Target="../slideLayouts/slideLayout233.xml"/><Relationship Id="rId84" Type="http://schemas.openxmlformats.org/officeDocument/2006/relationships/tags" Target="../tags/tag296.xml"/><Relationship Id="rId1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97.xml"/><Relationship Id="rId37" Type="http://schemas.openxmlformats.org/officeDocument/2006/relationships/slideLayout" Target="../slideLayouts/slideLayout202.xml"/><Relationship Id="rId53" Type="http://schemas.openxmlformats.org/officeDocument/2006/relationships/slideLayout" Target="../slideLayouts/slideLayout218.xml"/><Relationship Id="rId58" Type="http://schemas.openxmlformats.org/officeDocument/2006/relationships/slideLayout" Target="../slideLayouts/slideLayout223.xml"/><Relationship Id="rId74" Type="http://schemas.openxmlformats.org/officeDocument/2006/relationships/slideLayout" Target="../slideLayouts/slideLayout239.xml"/><Relationship Id="rId79" Type="http://schemas.openxmlformats.org/officeDocument/2006/relationships/slideLayout" Target="../slideLayouts/slideLayout244.xml"/><Relationship Id="rId5" Type="http://schemas.openxmlformats.org/officeDocument/2006/relationships/slideLayout" Target="../slideLayouts/slideLayout170.xml"/><Relationship Id="rId1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79.xml"/><Relationship Id="rId22" Type="http://schemas.openxmlformats.org/officeDocument/2006/relationships/slideLayout" Target="../slideLayouts/slideLayout187.xml"/><Relationship Id="rId27" Type="http://schemas.openxmlformats.org/officeDocument/2006/relationships/slideLayout" Target="../slideLayouts/slideLayout192.xml"/><Relationship Id="rId30" Type="http://schemas.openxmlformats.org/officeDocument/2006/relationships/slideLayout" Target="../slideLayouts/slideLayout195.xml"/><Relationship Id="rId35" Type="http://schemas.openxmlformats.org/officeDocument/2006/relationships/slideLayout" Target="../slideLayouts/slideLayout200.xml"/><Relationship Id="rId43" Type="http://schemas.openxmlformats.org/officeDocument/2006/relationships/slideLayout" Target="../slideLayouts/slideLayout208.xml"/><Relationship Id="rId48" Type="http://schemas.openxmlformats.org/officeDocument/2006/relationships/slideLayout" Target="../slideLayouts/slideLayout213.xml"/><Relationship Id="rId56" Type="http://schemas.openxmlformats.org/officeDocument/2006/relationships/slideLayout" Target="../slideLayouts/slideLayout221.xml"/><Relationship Id="rId64" Type="http://schemas.openxmlformats.org/officeDocument/2006/relationships/slideLayout" Target="../slideLayouts/slideLayout229.xml"/><Relationship Id="rId69" Type="http://schemas.openxmlformats.org/officeDocument/2006/relationships/slideLayout" Target="../slideLayouts/slideLayout234.xml"/><Relationship Id="rId77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173.xml"/><Relationship Id="rId51" Type="http://schemas.openxmlformats.org/officeDocument/2006/relationships/slideLayout" Target="../slideLayouts/slideLayout216.xml"/><Relationship Id="rId72" Type="http://schemas.openxmlformats.org/officeDocument/2006/relationships/slideLayout" Target="../slideLayouts/slideLayout237.xml"/><Relationship Id="rId80" Type="http://schemas.openxmlformats.org/officeDocument/2006/relationships/slideLayout" Target="../slideLayouts/slideLayout245.xml"/><Relationship Id="rId85" Type="http://schemas.openxmlformats.org/officeDocument/2006/relationships/tags" Target="../tags/tag297.xml"/><Relationship Id="rId3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slideLayout" Target="../slideLayouts/slideLayout190.xml"/><Relationship Id="rId33" Type="http://schemas.openxmlformats.org/officeDocument/2006/relationships/slideLayout" Target="../slideLayouts/slideLayout198.xml"/><Relationship Id="rId38" Type="http://schemas.openxmlformats.org/officeDocument/2006/relationships/slideLayout" Target="../slideLayouts/slideLayout203.xml"/><Relationship Id="rId46" Type="http://schemas.openxmlformats.org/officeDocument/2006/relationships/slideLayout" Target="../slideLayouts/slideLayout211.xml"/><Relationship Id="rId59" Type="http://schemas.openxmlformats.org/officeDocument/2006/relationships/slideLayout" Target="../slideLayouts/slideLayout224.xml"/><Relationship Id="rId67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185.xml"/><Relationship Id="rId41" Type="http://schemas.openxmlformats.org/officeDocument/2006/relationships/slideLayout" Target="../slideLayouts/slideLayout206.xml"/><Relationship Id="rId54" Type="http://schemas.openxmlformats.org/officeDocument/2006/relationships/slideLayout" Target="../slideLayouts/slideLayout219.xml"/><Relationship Id="rId62" Type="http://schemas.openxmlformats.org/officeDocument/2006/relationships/slideLayout" Target="../slideLayouts/slideLayout227.xml"/><Relationship Id="rId70" Type="http://schemas.openxmlformats.org/officeDocument/2006/relationships/slideLayout" Target="../slideLayouts/slideLayout235.xml"/><Relationship Id="rId75" Type="http://schemas.openxmlformats.org/officeDocument/2006/relationships/slideLayout" Target="../slideLayouts/slideLayout240.xml"/><Relationship Id="rId83" Type="http://schemas.openxmlformats.org/officeDocument/2006/relationships/theme" Target="../theme/theme3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0.xml"/><Relationship Id="rId23" Type="http://schemas.openxmlformats.org/officeDocument/2006/relationships/slideLayout" Target="../slideLayouts/slideLayout188.xml"/><Relationship Id="rId28" Type="http://schemas.openxmlformats.org/officeDocument/2006/relationships/slideLayout" Target="../slideLayouts/slideLayout193.xml"/><Relationship Id="rId36" Type="http://schemas.openxmlformats.org/officeDocument/2006/relationships/slideLayout" Target="../slideLayouts/slideLayout201.xml"/><Relationship Id="rId49" Type="http://schemas.openxmlformats.org/officeDocument/2006/relationships/slideLayout" Target="../slideLayouts/slideLayout214.xml"/><Relationship Id="rId57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96.xml"/><Relationship Id="rId44" Type="http://schemas.openxmlformats.org/officeDocument/2006/relationships/slideLayout" Target="../slideLayouts/slideLayout209.xml"/><Relationship Id="rId52" Type="http://schemas.openxmlformats.org/officeDocument/2006/relationships/slideLayout" Target="../slideLayouts/slideLayout217.xml"/><Relationship Id="rId60" Type="http://schemas.openxmlformats.org/officeDocument/2006/relationships/slideLayout" Target="../slideLayouts/slideLayout225.xml"/><Relationship Id="rId65" Type="http://schemas.openxmlformats.org/officeDocument/2006/relationships/slideLayout" Target="../slideLayouts/slideLayout230.xml"/><Relationship Id="rId73" Type="http://schemas.openxmlformats.org/officeDocument/2006/relationships/slideLayout" Target="../slideLayouts/slideLayout238.xml"/><Relationship Id="rId78" Type="http://schemas.openxmlformats.org/officeDocument/2006/relationships/slideLayout" Target="../slideLayouts/slideLayout243.xml"/><Relationship Id="rId81" Type="http://schemas.openxmlformats.org/officeDocument/2006/relationships/slideLayout" Target="../slideLayouts/slideLayout246.xml"/><Relationship Id="rId86" Type="http://schemas.openxmlformats.org/officeDocument/2006/relationships/oleObject" Target="../embeddings/oleObject166.bin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39" Type="http://schemas.openxmlformats.org/officeDocument/2006/relationships/slideLayout" Target="../slideLayouts/slideLayout204.xml"/><Relationship Id="rId34" Type="http://schemas.openxmlformats.org/officeDocument/2006/relationships/slideLayout" Target="../slideLayouts/slideLayout199.xml"/><Relationship Id="rId50" Type="http://schemas.openxmlformats.org/officeDocument/2006/relationships/slideLayout" Target="../slideLayouts/slideLayout215.xml"/><Relationship Id="rId55" Type="http://schemas.openxmlformats.org/officeDocument/2006/relationships/slideLayout" Target="../slideLayouts/slideLayout220.xml"/><Relationship Id="rId76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172.xml"/><Relationship Id="rId71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94.xml"/><Relationship Id="rId24" Type="http://schemas.openxmlformats.org/officeDocument/2006/relationships/slideLayout" Target="../slideLayouts/slideLayout189.xml"/><Relationship Id="rId40" Type="http://schemas.openxmlformats.org/officeDocument/2006/relationships/slideLayout" Target="../slideLayouts/slideLayout205.xml"/><Relationship Id="rId45" Type="http://schemas.openxmlformats.org/officeDocument/2006/relationships/slideLayout" Target="../slideLayouts/slideLayout210.xml"/><Relationship Id="rId66" Type="http://schemas.openxmlformats.org/officeDocument/2006/relationships/slideLayout" Target="../slideLayouts/slideLayout231.xml"/><Relationship Id="rId87" Type="http://schemas.openxmlformats.org/officeDocument/2006/relationships/image" Target="../media/image1.emf"/><Relationship Id="rId61" Type="http://schemas.openxmlformats.org/officeDocument/2006/relationships/slideLayout" Target="../slideLayouts/slideLayout226.xml"/><Relationship Id="rId82" Type="http://schemas.openxmlformats.org/officeDocument/2006/relationships/slideLayout" Target="../slideLayouts/slideLayout24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0.xml"/><Relationship Id="rId18" Type="http://schemas.openxmlformats.org/officeDocument/2006/relationships/slideLayout" Target="../slideLayouts/slideLayout265.xml"/><Relationship Id="rId26" Type="http://schemas.openxmlformats.org/officeDocument/2006/relationships/slideLayout" Target="../slideLayouts/slideLayout273.xml"/><Relationship Id="rId39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268.xml"/><Relationship Id="rId34" Type="http://schemas.openxmlformats.org/officeDocument/2006/relationships/slideLayout" Target="../slideLayouts/slideLayout281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254.xml"/><Relationship Id="rId2" Type="http://schemas.openxmlformats.org/officeDocument/2006/relationships/slideLayout" Target="../slideLayouts/slideLayout249.xml"/><Relationship Id="rId16" Type="http://schemas.openxmlformats.org/officeDocument/2006/relationships/slideLayout" Target="../slideLayouts/slideLayout263.xml"/><Relationship Id="rId29" Type="http://schemas.openxmlformats.org/officeDocument/2006/relationships/slideLayout" Target="../slideLayouts/slideLayout276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24" Type="http://schemas.openxmlformats.org/officeDocument/2006/relationships/slideLayout" Target="../slideLayouts/slideLayout271.xml"/><Relationship Id="rId32" Type="http://schemas.openxmlformats.org/officeDocument/2006/relationships/slideLayout" Target="../slideLayouts/slideLayout279.xml"/><Relationship Id="rId37" Type="http://schemas.openxmlformats.org/officeDocument/2006/relationships/slideLayout" Target="../slideLayouts/slideLayout284.xml"/><Relationship Id="rId40" Type="http://schemas.openxmlformats.org/officeDocument/2006/relationships/slideLayout" Target="../slideLayouts/slideLayout287.xml"/><Relationship Id="rId45" Type="http://schemas.openxmlformats.org/officeDocument/2006/relationships/oleObject" Target="../embeddings/oleObject240.bin"/><Relationship Id="rId5" Type="http://schemas.openxmlformats.org/officeDocument/2006/relationships/slideLayout" Target="../slideLayouts/slideLayout252.xml"/><Relationship Id="rId15" Type="http://schemas.openxmlformats.org/officeDocument/2006/relationships/slideLayout" Target="../slideLayouts/slideLayout262.xml"/><Relationship Id="rId23" Type="http://schemas.openxmlformats.org/officeDocument/2006/relationships/slideLayout" Target="../slideLayouts/slideLayout270.xml"/><Relationship Id="rId28" Type="http://schemas.openxmlformats.org/officeDocument/2006/relationships/slideLayout" Target="../slideLayouts/slideLayout275.xml"/><Relationship Id="rId36" Type="http://schemas.openxmlformats.org/officeDocument/2006/relationships/slideLayout" Target="../slideLayouts/slideLayout283.xml"/><Relationship Id="rId10" Type="http://schemas.openxmlformats.org/officeDocument/2006/relationships/slideLayout" Target="../slideLayouts/slideLayout257.xml"/><Relationship Id="rId19" Type="http://schemas.openxmlformats.org/officeDocument/2006/relationships/slideLayout" Target="../slideLayouts/slideLayout266.xml"/><Relationship Id="rId31" Type="http://schemas.openxmlformats.org/officeDocument/2006/relationships/slideLayout" Target="../slideLayouts/slideLayout278.xml"/><Relationship Id="rId44" Type="http://schemas.openxmlformats.org/officeDocument/2006/relationships/tags" Target="../tags/tag443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Relationship Id="rId14" Type="http://schemas.openxmlformats.org/officeDocument/2006/relationships/slideLayout" Target="../slideLayouts/slideLayout261.xml"/><Relationship Id="rId22" Type="http://schemas.openxmlformats.org/officeDocument/2006/relationships/slideLayout" Target="../slideLayouts/slideLayout269.xml"/><Relationship Id="rId27" Type="http://schemas.openxmlformats.org/officeDocument/2006/relationships/slideLayout" Target="../slideLayouts/slideLayout274.xml"/><Relationship Id="rId30" Type="http://schemas.openxmlformats.org/officeDocument/2006/relationships/slideLayout" Target="../slideLayouts/slideLayout277.xml"/><Relationship Id="rId35" Type="http://schemas.openxmlformats.org/officeDocument/2006/relationships/slideLayout" Target="../slideLayouts/slideLayout282.xml"/><Relationship Id="rId43" Type="http://schemas.openxmlformats.org/officeDocument/2006/relationships/tags" Target="../tags/tag442.xml"/><Relationship Id="rId8" Type="http://schemas.openxmlformats.org/officeDocument/2006/relationships/slideLayout" Target="../slideLayouts/slideLayout255.xml"/><Relationship Id="rId3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9.xml"/><Relationship Id="rId17" Type="http://schemas.openxmlformats.org/officeDocument/2006/relationships/slideLayout" Target="../slideLayouts/slideLayout264.xml"/><Relationship Id="rId25" Type="http://schemas.openxmlformats.org/officeDocument/2006/relationships/slideLayout" Target="../slideLayouts/slideLayout272.xml"/><Relationship Id="rId33" Type="http://schemas.openxmlformats.org/officeDocument/2006/relationships/slideLayout" Target="../slideLayouts/slideLayout280.xml"/><Relationship Id="rId38" Type="http://schemas.openxmlformats.org/officeDocument/2006/relationships/slideLayout" Target="../slideLayouts/slideLayout285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67.xml"/><Relationship Id="rId41" Type="http://schemas.openxmlformats.org/officeDocument/2006/relationships/slideLayout" Target="../slideLayouts/slideLayout2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5"/>
            </p:custDataLst>
            <p:extLst>
              <p:ext uri="{D42A27DB-BD31-4B8C-83A1-F6EECF244321}">
                <p14:modId xmlns:p14="http://schemas.microsoft.com/office/powerpoint/2010/main" val="28653958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7" imgW="270" imgH="270" progId="TCLayout.ActiveDocument.1">
                  <p:embed/>
                </p:oleObj>
              </mc:Choice>
              <mc:Fallback>
                <p:oleObj name="think-cell 幻灯片" r:id="rId8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307883-7445-4CB5-A55C-61E2836D5592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0" y="1243584"/>
            <a:ext cx="12188952" cy="4654296"/>
          </a:xfrm>
          <a:prstGeom prst="rect">
            <a:avLst/>
          </a:prstGeom>
        </p:spPr>
        <p:txBody>
          <a:bodyPr vert="horz" lIns="457200" tIns="45720" rIns="45720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 hidden="1"/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379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  <p:sldLayoutId id="2147483730" r:id="rId58"/>
    <p:sldLayoutId id="2147483731" r:id="rId59"/>
    <p:sldLayoutId id="2147483732" r:id="rId60"/>
    <p:sldLayoutId id="2147483733" r:id="rId61"/>
    <p:sldLayoutId id="2147483734" r:id="rId62"/>
    <p:sldLayoutId id="2147483735" r:id="rId63"/>
    <p:sldLayoutId id="2147483736" r:id="rId64"/>
    <p:sldLayoutId id="2147483737" r:id="rId65"/>
    <p:sldLayoutId id="2147483738" r:id="rId66"/>
    <p:sldLayoutId id="2147483739" r:id="rId67"/>
    <p:sldLayoutId id="2147483740" r:id="rId68"/>
    <p:sldLayoutId id="2147483741" r:id="rId69"/>
    <p:sldLayoutId id="2147483742" r:id="rId70"/>
    <p:sldLayoutId id="2147483743" r:id="rId71"/>
    <p:sldLayoutId id="2147483744" r:id="rId72"/>
    <p:sldLayoutId id="2147483745" r:id="rId73"/>
    <p:sldLayoutId id="2147483746" r:id="rId74"/>
    <p:sldLayoutId id="2147483747" r:id="rId75"/>
    <p:sldLayoutId id="2147483748" r:id="rId76"/>
    <p:sldLayoutId id="2147483749" r:id="rId77"/>
    <p:sldLayoutId id="2147483750" r:id="rId78"/>
    <p:sldLayoutId id="2147483751" r:id="rId79"/>
    <p:sldLayoutId id="2147483752" r:id="rId80"/>
    <p:sldLayoutId id="2147483753" r:id="rId81"/>
    <p:sldLayoutId id="2147483754" r:id="rId82"/>
    <p:sldLayoutId id="2147483755" r:id="rId8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28653958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6" imgW="270" imgH="270" progId="TCLayout.ActiveDocument.1">
                  <p:embed/>
                </p:oleObj>
              </mc:Choice>
              <mc:Fallback>
                <p:oleObj name="think-cell 幻灯片" r:id="rId8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307883-7445-4CB5-A55C-61E2836D5592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0" y="1243584"/>
            <a:ext cx="12188952" cy="4654296"/>
          </a:xfrm>
          <a:prstGeom prst="rect">
            <a:avLst/>
          </a:prstGeom>
        </p:spPr>
        <p:txBody>
          <a:bodyPr vert="horz" lIns="457200" tIns="45720" rIns="45720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049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80" r:id="rId24"/>
    <p:sldLayoutId id="2147483781" r:id="rId25"/>
    <p:sldLayoutId id="2147483782" r:id="rId26"/>
    <p:sldLayoutId id="2147483783" r:id="rId27"/>
    <p:sldLayoutId id="2147483784" r:id="rId28"/>
    <p:sldLayoutId id="2147483785" r:id="rId29"/>
    <p:sldLayoutId id="2147483786" r:id="rId30"/>
    <p:sldLayoutId id="2147483787" r:id="rId31"/>
    <p:sldLayoutId id="2147483788" r:id="rId32"/>
    <p:sldLayoutId id="2147483789" r:id="rId33"/>
    <p:sldLayoutId id="2147483790" r:id="rId34"/>
    <p:sldLayoutId id="2147483791" r:id="rId35"/>
    <p:sldLayoutId id="2147483792" r:id="rId36"/>
    <p:sldLayoutId id="2147483793" r:id="rId37"/>
    <p:sldLayoutId id="2147483794" r:id="rId38"/>
    <p:sldLayoutId id="2147483795" r:id="rId39"/>
    <p:sldLayoutId id="2147483796" r:id="rId40"/>
    <p:sldLayoutId id="2147483797" r:id="rId41"/>
    <p:sldLayoutId id="2147483798" r:id="rId42"/>
    <p:sldLayoutId id="2147483799" r:id="rId43"/>
    <p:sldLayoutId id="2147483800" r:id="rId44"/>
    <p:sldLayoutId id="2147483801" r:id="rId45"/>
    <p:sldLayoutId id="2147483802" r:id="rId46"/>
    <p:sldLayoutId id="2147483803" r:id="rId47"/>
    <p:sldLayoutId id="2147483804" r:id="rId48"/>
    <p:sldLayoutId id="2147483805" r:id="rId49"/>
    <p:sldLayoutId id="2147483806" r:id="rId50"/>
    <p:sldLayoutId id="2147483807" r:id="rId51"/>
    <p:sldLayoutId id="2147483808" r:id="rId52"/>
    <p:sldLayoutId id="2147483809" r:id="rId53"/>
    <p:sldLayoutId id="2147483810" r:id="rId54"/>
    <p:sldLayoutId id="2147483811" r:id="rId55"/>
    <p:sldLayoutId id="2147483812" r:id="rId56"/>
    <p:sldLayoutId id="2147483813" r:id="rId57"/>
    <p:sldLayoutId id="2147483814" r:id="rId58"/>
    <p:sldLayoutId id="2147483815" r:id="rId59"/>
    <p:sldLayoutId id="2147483816" r:id="rId60"/>
    <p:sldLayoutId id="2147483817" r:id="rId61"/>
    <p:sldLayoutId id="2147483818" r:id="rId62"/>
    <p:sldLayoutId id="2147483819" r:id="rId63"/>
    <p:sldLayoutId id="2147483820" r:id="rId64"/>
    <p:sldLayoutId id="2147483821" r:id="rId65"/>
    <p:sldLayoutId id="2147483822" r:id="rId66"/>
    <p:sldLayoutId id="2147483823" r:id="rId67"/>
    <p:sldLayoutId id="2147483824" r:id="rId68"/>
    <p:sldLayoutId id="2147483825" r:id="rId69"/>
    <p:sldLayoutId id="2147483826" r:id="rId70"/>
    <p:sldLayoutId id="2147483827" r:id="rId71"/>
    <p:sldLayoutId id="2147483828" r:id="rId72"/>
    <p:sldLayoutId id="2147483829" r:id="rId73"/>
    <p:sldLayoutId id="2147483830" r:id="rId74"/>
    <p:sldLayoutId id="2147483831" r:id="rId75"/>
    <p:sldLayoutId id="2147483832" r:id="rId76"/>
    <p:sldLayoutId id="2147483833" r:id="rId77"/>
    <p:sldLayoutId id="2147483834" r:id="rId78"/>
    <p:sldLayoutId id="2147483835" r:id="rId79"/>
    <p:sldLayoutId id="2147483836" r:id="rId80"/>
    <p:sldLayoutId id="2147483837" r:id="rId81"/>
    <p:sldLayoutId id="2147483838" r:id="rId8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17307593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6" imgW="270" imgH="270" progId="TCLayout.ActiveDocument.1">
                  <p:embed/>
                </p:oleObj>
              </mc:Choice>
              <mc:Fallback>
                <p:oleObj name="think-cell 幻灯片" r:id="rId8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307883-7445-4CB5-A55C-61E2836D5592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0" y="1243584"/>
            <a:ext cx="12188952" cy="4654296"/>
          </a:xfrm>
          <a:prstGeom prst="rect">
            <a:avLst/>
          </a:prstGeom>
        </p:spPr>
        <p:txBody>
          <a:bodyPr vert="horz" lIns="457200" tIns="45720" rIns="45720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824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  <p:sldLayoutId id="2147483863" r:id="rId23"/>
    <p:sldLayoutId id="2147483864" r:id="rId24"/>
    <p:sldLayoutId id="2147483865" r:id="rId25"/>
    <p:sldLayoutId id="2147483866" r:id="rId26"/>
    <p:sldLayoutId id="2147483867" r:id="rId27"/>
    <p:sldLayoutId id="2147483868" r:id="rId28"/>
    <p:sldLayoutId id="2147483869" r:id="rId29"/>
    <p:sldLayoutId id="2147483870" r:id="rId30"/>
    <p:sldLayoutId id="2147483871" r:id="rId31"/>
    <p:sldLayoutId id="2147483872" r:id="rId32"/>
    <p:sldLayoutId id="2147483873" r:id="rId33"/>
    <p:sldLayoutId id="2147483874" r:id="rId34"/>
    <p:sldLayoutId id="2147483875" r:id="rId35"/>
    <p:sldLayoutId id="2147483876" r:id="rId36"/>
    <p:sldLayoutId id="2147483877" r:id="rId37"/>
    <p:sldLayoutId id="2147483878" r:id="rId38"/>
    <p:sldLayoutId id="2147483879" r:id="rId39"/>
    <p:sldLayoutId id="2147483880" r:id="rId40"/>
    <p:sldLayoutId id="2147483881" r:id="rId41"/>
    <p:sldLayoutId id="2147483882" r:id="rId42"/>
    <p:sldLayoutId id="2147483883" r:id="rId43"/>
    <p:sldLayoutId id="2147483884" r:id="rId44"/>
    <p:sldLayoutId id="2147483885" r:id="rId45"/>
    <p:sldLayoutId id="2147483886" r:id="rId46"/>
    <p:sldLayoutId id="2147483887" r:id="rId47"/>
    <p:sldLayoutId id="2147483888" r:id="rId48"/>
    <p:sldLayoutId id="2147483889" r:id="rId49"/>
    <p:sldLayoutId id="2147483890" r:id="rId50"/>
    <p:sldLayoutId id="2147483891" r:id="rId51"/>
    <p:sldLayoutId id="2147483892" r:id="rId52"/>
    <p:sldLayoutId id="2147483893" r:id="rId53"/>
    <p:sldLayoutId id="2147483894" r:id="rId54"/>
    <p:sldLayoutId id="2147483895" r:id="rId55"/>
    <p:sldLayoutId id="2147483896" r:id="rId56"/>
    <p:sldLayoutId id="2147483897" r:id="rId57"/>
    <p:sldLayoutId id="2147483898" r:id="rId58"/>
    <p:sldLayoutId id="2147483899" r:id="rId59"/>
    <p:sldLayoutId id="2147483900" r:id="rId60"/>
    <p:sldLayoutId id="2147483901" r:id="rId61"/>
    <p:sldLayoutId id="2147483902" r:id="rId62"/>
    <p:sldLayoutId id="2147483903" r:id="rId63"/>
    <p:sldLayoutId id="2147483904" r:id="rId64"/>
    <p:sldLayoutId id="2147483905" r:id="rId65"/>
    <p:sldLayoutId id="2147483906" r:id="rId66"/>
    <p:sldLayoutId id="2147483907" r:id="rId67"/>
    <p:sldLayoutId id="2147483908" r:id="rId68"/>
    <p:sldLayoutId id="2147483909" r:id="rId69"/>
    <p:sldLayoutId id="2147483910" r:id="rId70"/>
    <p:sldLayoutId id="2147483911" r:id="rId71"/>
    <p:sldLayoutId id="2147483912" r:id="rId72"/>
    <p:sldLayoutId id="2147483913" r:id="rId73"/>
    <p:sldLayoutId id="2147483914" r:id="rId74"/>
    <p:sldLayoutId id="2147483915" r:id="rId75"/>
    <p:sldLayoutId id="2147483916" r:id="rId76"/>
    <p:sldLayoutId id="2147483917" r:id="rId77"/>
    <p:sldLayoutId id="2147483918" r:id="rId78"/>
    <p:sldLayoutId id="2147483919" r:id="rId79"/>
    <p:sldLayoutId id="2147483920" r:id="rId80"/>
    <p:sldLayoutId id="2147483921" r:id="rId81"/>
    <p:sldLayoutId id="2147483922" r:id="rId8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445087345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5" imgW="270" imgH="270" progId="TCLayout.ActiveDocument.1">
                  <p:embed/>
                </p:oleObj>
              </mc:Choice>
              <mc:Fallback>
                <p:oleObj name="think-cell 幻灯片" r:id="rId4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307883-7445-4CB5-A55C-61E2836D5592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" y="1243584"/>
            <a:ext cx="12188952" cy="4654296"/>
          </a:xfrm>
          <a:prstGeom prst="rect">
            <a:avLst/>
          </a:prstGeom>
        </p:spPr>
        <p:txBody>
          <a:bodyPr vert="horz" lIns="457200" tIns="45720" rIns="45720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 hidden="1"/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051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  <p:sldLayoutId id="2147483974" r:id="rId39"/>
    <p:sldLayoutId id="2147483975" r:id="rId40"/>
    <p:sldLayoutId id="2147483976" r:id="rId4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31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331" rtl="0" eaLnBrk="1" latinLnBrk="0" hangingPunct="1">
        <a:lnSpc>
          <a:spcPct val="110000"/>
        </a:lnSpc>
        <a:spcBef>
          <a:spcPts val="599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378" indent="-172788" algn="l" defTabSz="914331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162" indent="-165589" algn="l" defTabSz="914331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331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33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55" indent="-152389" algn="l" defTabSz="914331" rtl="0" eaLnBrk="1" latinLnBrk="0" hangingPunct="1">
        <a:lnSpc>
          <a:spcPct val="90000"/>
        </a:lnSpc>
        <a:spcBef>
          <a:spcPts val="0"/>
        </a:spcBef>
        <a:spcAft>
          <a:spcPts val="599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331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331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331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3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530.xml"/><Relationship Id="rId18" Type="http://schemas.openxmlformats.org/officeDocument/2006/relationships/tags" Target="../tags/tag535.xml"/><Relationship Id="rId26" Type="http://schemas.openxmlformats.org/officeDocument/2006/relationships/tags" Target="../tags/tag543.xml"/><Relationship Id="rId39" Type="http://schemas.openxmlformats.org/officeDocument/2006/relationships/tags" Target="../tags/tag556.xml"/><Relationship Id="rId21" Type="http://schemas.openxmlformats.org/officeDocument/2006/relationships/tags" Target="../tags/tag538.xml"/><Relationship Id="rId34" Type="http://schemas.openxmlformats.org/officeDocument/2006/relationships/tags" Target="../tags/tag551.xml"/><Relationship Id="rId42" Type="http://schemas.openxmlformats.org/officeDocument/2006/relationships/tags" Target="../tags/tag559.xml"/><Relationship Id="rId47" Type="http://schemas.openxmlformats.org/officeDocument/2006/relationships/tags" Target="../tags/tag564.xml"/><Relationship Id="rId50" Type="http://schemas.openxmlformats.org/officeDocument/2006/relationships/slideLayout" Target="../slideLayouts/slideLayout47.xml"/><Relationship Id="rId7" Type="http://schemas.openxmlformats.org/officeDocument/2006/relationships/tags" Target="../tags/tag524.xml"/><Relationship Id="rId2" Type="http://schemas.openxmlformats.org/officeDocument/2006/relationships/tags" Target="../tags/tag519.xml"/><Relationship Id="rId16" Type="http://schemas.openxmlformats.org/officeDocument/2006/relationships/tags" Target="../tags/tag533.xml"/><Relationship Id="rId29" Type="http://schemas.openxmlformats.org/officeDocument/2006/relationships/tags" Target="../tags/tag546.xml"/><Relationship Id="rId11" Type="http://schemas.openxmlformats.org/officeDocument/2006/relationships/tags" Target="../tags/tag528.xml"/><Relationship Id="rId24" Type="http://schemas.openxmlformats.org/officeDocument/2006/relationships/tags" Target="../tags/tag541.xml"/><Relationship Id="rId32" Type="http://schemas.openxmlformats.org/officeDocument/2006/relationships/tags" Target="../tags/tag549.xml"/><Relationship Id="rId37" Type="http://schemas.openxmlformats.org/officeDocument/2006/relationships/tags" Target="../tags/tag554.xml"/><Relationship Id="rId40" Type="http://schemas.openxmlformats.org/officeDocument/2006/relationships/tags" Target="../tags/tag557.xml"/><Relationship Id="rId45" Type="http://schemas.openxmlformats.org/officeDocument/2006/relationships/tags" Target="../tags/tag562.xml"/><Relationship Id="rId53" Type="http://schemas.openxmlformats.org/officeDocument/2006/relationships/image" Target="../media/image30.emf"/><Relationship Id="rId5" Type="http://schemas.openxmlformats.org/officeDocument/2006/relationships/tags" Target="../tags/tag522.xml"/><Relationship Id="rId10" Type="http://schemas.openxmlformats.org/officeDocument/2006/relationships/tags" Target="../tags/tag527.xml"/><Relationship Id="rId19" Type="http://schemas.openxmlformats.org/officeDocument/2006/relationships/tags" Target="../tags/tag536.xml"/><Relationship Id="rId31" Type="http://schemas.openxmlformats.org/officeDocument/2006/relationships/tags" Target="../tags/tag548.xml"/><Relationship Id="rId44" Type="http://schemas.openxmlformats.org/officeDocument/2006/relationships/tags" Target="../tags/tag561.xml"/><Relationship Id="rId52" Type="http://schemas.openxmlformats.org/officeDocument/2006/relationships/oleObject" Target="../embeddings/oleObject278.bin"/><Relationship Id="rId4" Type="http://schemas.openxmlformats.org/officeDocument/2006/relationships/tags" Target="../tags/tag521.xml"/><Relationship Id="rId9" Type="http://schemas.openxmlformats.org/officeDocument/2006/relationships/tags" Target="../tags/tag526.xml"/><Relationship Id="rId14" Type="http://schemas.openxmlformats.org/officeDocument/2006/relationships/tags" Target="../tags/tag531.xml"/><Relationship Id="rId22" Type="http://schemas.openxmlformats.org/officeDocument/2006/relationships/tags" Target="../tags/tag539.xml"/><Relationship Id="rId27" Type="http://schemas.openxmlformats.org/officeDocument/2006/relationships/tags" Target="../tags/tag544.xml"/><Relationship Id="rId30" Type="http://schemas.openxmlformats.org/officeDocument/2006/relationships/tags" Target="../tags/tag547.xml"/><Relationship Id="rId35" Type="http://schemas.openxmlformats.org/officeDocument/2006/relationships/tags" Target="../tags/tag552.xml"/><Relationship Id="rId43" Type="http://schemas.openxmlformats.org/officeDocument/2006/relationships/tags" Target="../tags/tag560.xml"/><Relationship Id="rId48" Type="http://schemas.openxmlformats.org/officeDocument/2006/relationships/tags" Target="../tags/tag565.xml"/><Relationship Id="rId8" Type="http://schemas.openxmlformats.org/officeDocument/2006/relationships/tags" Target="../tags/tag525.xml"/><Relationship Id="rId51" Type="http://schemas.openxmlformats.org/officeDocument/2006/relationships/notesSlide" Target="../notesSlides/notesSlide1.xml"/><Relationship Id="rId3" Type="http://schemas.openxmlformats.org/officeDocument/2006/relationships/tags" Target="../tags/tag520.xml"/><Relationship Id="rId12" Type="http://schemas.openxmlformats.org/officeDocument/2006/relationships/tags" Target="../tags/tag529.xml"/><Relationship Id="rId17" Type="http://schemas.openxmlformats.org/officeDocument/2006/relationships/tags" Target="../tags/tag534.xml"/><Relationship Id="rId25" Type="http://schemas.openxmlformats.org/officeDocument/2006/relationships/tags" Target="../tags/tag542.xml"/><Relationship Id="rId33" Type="http://schemas.openxmlformats.org/officeDocument/2006/relationships/tags" Target="../tags/tag550.xml"/><Relationship Id="rId38" Type="http://schemas.openxmlformats.org/officeDocument/2006/relationships/tags" Target="../tags/tag555.xml"/><Relationship Id="rId46" Type="http://schemas.openxmlformats.org/officeDocument/2006/relationships/tags" Target="../tags/tag563.xml"/><Relationship Id="rId20" Type="http://schemas.openxmlformats.org/officeDocument/2006/relationships/tags" Target="../tags/tag537.xml"/><Relationship Id="rId41" Type="http://schemas.openxmlformats.org/officeDocument/2006/relationships/tags" Target="../tags/tag558.xml"/><Relationship Id="rId54" Type="http://schemas.openxmlformats.org/officeDocument/2006/relationships/chart" Target="../charts/chart1.xml"/><Relationship Id="rId1" Type="http://schemas.openxmlformats.org/officeDocument/2006/relationships/tags" Target="../tags/tag518.xml"/><Relationship Id="rId6" Type="http://schemas.openxmlformats.org/officeDocument/2006/relationships/tags" Target="../tags/tag523.xml"/><Relationship Id="rId15" Type="http://schemas.openxmlformats.org/officeDocument/2006/relationships/tags" Target="../tags/tag532.xml"/><Relationship Id="rId23" Type="http://schemas.openxmlformats.org/officeDocument/2006/relationships/tags" Target="../tags/tag540.xml"/><Relationship Id="rId28" Type="http://schemas.openxmlformats.org/officeDocument/2006/relationships/tags" Target="../tags/tag545.xml"/><Relationship Id="rId36" Type="http://schemas.openxmlformats.org/officeDocument/2006/relationships/tags" Target="../tags/tag553.xml"/><Relationship Id="rId49" Type="http://schemas.openxmlformats.org/officeDocument/2006/relationships/tags" Target="../tags/tag566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592.xml"/><Relationship Id="rId21" Type="http://schemas.openxmlformats.org/officeDocument/2006/relationships/tags" Target="../tags/tag587.xml"/><Relationship Id="rId42" Type="http://schemas.openxmlformats.org/officeDocument/2006/relationships/tags" Target="../tags/tag608.xml"/><Relationship Id="rId47" Type="http://schemas.openxmlformats.org/officeDocument/2006/relationships/tags" Target="../tags/tag613.xml"/><Relationship Id="rId63" Type="http://schemas.openxmlformats.org/officeDocument/2006/relationships/tags" Target="../tags/tag629.xml"/><Relationship Id="rId68" Type="http://schemas.openxmlformats.org/officeDocument/2006/relationships/tags" Target="../tags/tag634.xml"/><Relationship Id="rId16" Type="http://schemas.openxmlformats.org/officeDocument/2006/relationships/tags" Target="../tags/tag582.xml"/><Relationship Id="rId11" Type="http://schemas.openxmlformats.org/officeDocument/2006/relationships/tags" Target="../tags/tag577.xml"/><Relationship Id="rId32" Type="http://schemas.openxmlformats.org/officeDocument/2006/relationships/tags" Target="../tags/tag598.xml"/><Relationship Id="rId37" Type="http://schemas.openxmlformats.org/officeDocument/2006/relationships/tags" Target="../tags/tag603.xml"/><Relationship Id="rId53" Type="http://schemas.openxmlformats.org/officeDocument/2006/relationships/tags" Target="../tags/tag619.xml"/><Relationship Id="rId58" Type="http://schemas.openxmlformats.org/officeDocument/2006/relationships/tags" Target="../tags/tag624.xml"/><Relationship Id="rId74" Type="http://schemas.openxmlformats.org/officeDocument/2006/relationships/tags" Target="../tags/tag640.xml"/><Relationship Id="rId79" Type="http://schemas.openxmlformats.org/officeDocument/2006/relationships/oleObject" Target="../embeddings/oleObject279.bin"/><Relationship Id="rId5" Type="http://schemas.openxmlformats.org/officeDocument/2006/relationships/tags" Target="../tags/tag571.xml"/><Relationship Id="rId61" Type="http://schemas.openxmlformats.org/officeDocument/2006/relationships/tags" Target="../tags/tag627.xml"/><Relationship Id="rId82" Type="http://schemas.openxmlformats.org/officeDocument/2006/relationships/chart" Target="../charts/chart3.xml"/><Relationship Id="rId19" Type="http://schemas.openxmlformats.org/officeDocument/2006/relationships/tags" Target="../tags/tag585.xml"/><Relationship Id="rId14" Type="http://schemas.openxmlformats.org/officeDocument/2006/relationships/tags" Target="../tags/tag580.xml"/><Relationship Id="rId22" Type="http://schemas.openxmlformats.org/officeDocument/2006/relationships/tags" Target="../tags/tag588.xml"/><Relationship Id="rId27" Type="http://schemas.openxmlformats.org/officeDocument/2006/relationships/tags" Target="../tags/tag593.xml"/><Relationship Id="rId30" Type="http://schemas.openxmlformats.org/officeDocument/2006/relationships/tags" Target="../tags/tag596.xml"/><Relationship Id="rId35" Type="http://schemas.openxmlformats.org/officeDocument/2006/relationships/tags" Target="../tags/tag601.xml"/><Relationship Id="rId43" Type="http://schemas.openxmlformats.org/officeDocument/2006/relationships/tags" Target="../tags/tag609.xml"/><Relationship Id="rId48" Type="http://schemas.openxmlformats.org/officeDocument/2006/relationships/tags" Target="../tags/tag614.xml"/><Relationship Id="rId56" Type="http://schemas.openxmlformats.org/officeDocument/2006/relationships/tags" Target="../tags/tag622.xml"/><Relationship Id="rId64" Type="http://schemas.openxmlformats.org/officeDocument/2006/relationships/tags" Target="../tags/tag630.xml"/><Relationship Id="rId69" Type="http://schemas.openxmlformats.org/officeDocument/2006/relationships/tags" Target="../tags/tag635.xml"/><Relationship Id="rId77" Type="http://schemas.openxmlformats.org/officeDocument/2006/relationships/slideLayout" Target="../slideLayouts/slideLayout47.xml"/><Relationship Id="rId8" Type="http://schemas.openxmlformats.org/officeDocument/2006/relationships/tags" Target="../tags/tag574.xml"/><Relationship Id="rId51" Type="http://schemas.openxmlformats.org/officeDocument/2006/relationships/tags" Target="../tags/tag617.xml"/><Relationship Id="rId72" Type="http://schemas.openxmlformats.org/officeDocument/2006/relationships/tags" Target="../tags/tag638.xml"/><Relationship Id="rId80" Type="http://schemas.openxmlformats.org/officeDocument/2006/relationships/image" Target="../media/image30.emf"/><Relationship Id="rId3" Type="http://schemas.openxmlformats.org/officeDocument/2006/relationships/tags" Target="../tags/tag569.xml"/><Relationship Id="rId12" Type="http://schemas.openxmlformats.org/officeDocument/2006/relationships/tags" Target="../tags/tag578.xml"/><Relationship Id="rId17" Type="http://schemas.openxmlformats.org/officeDocument/2006/relationships/tags" Target="../tags/tag583.xml"/><Relationship Id="rId25" Type="http://schemas.openxmlformats.org/officeDocument/2006/relationships/tags" Target="../tags/tag591.xml"/><Relationship Id="rId33" Type="http://schemas.openxmlformats.org/officeDocument/2006/relationships/tags" Target="../tags/tag599.xml"/><Relationship Id="rId38" Type="http://schemas.openxmlformats.org/officeDocument/2006/relationships/tags" Target="../tags/tag604.xml"/><Relationship Id="rId46" Type="http://schemas.openxmlformats.org/officeDocument/2006/relationships/tags" Target="../tags/tag612.xml"/><Relationship Id="rId59" Type="http://schemas.openxmlformats.org/officeDocument/2006/relationships/tags" Target="../tags/tag625.xml"/><Relationship Id="rId67" Type="http://schemas.openxmlformats.org/officeDocument/2006/relationships/tags" Target="../tags/tag633.xml"/><Relationship Id="rId20" Type="http://schemas.openxmlformats.org/officeDocument/2006/relationships/tags" Target="../tags/tag586.xml"/><Relationship Id="rId41" Type="http://schemas.openxmlformats.org/officeDocument/2006/relationships/tags" Target="../tags/tag607.xml"/><Relationship Id="rId54" Type="http://schemas.openxmlformats.org/officeDocument/2006/relationships/tags" Target="../tags/tag620.xml"/><Relationship Id="rId62" Type="http://schemas.openxmlformats.org/officeDocument/2006/relationships/tags" Target="../tags/tag628.xml"/><Relationship Id="rId70" Type="http://schemas.openxmlformats.org/officeDocument/2006/relationships/tags" Target="../tags/tag636.xml"/><Relationship Id="rId75" Type="http://schemas.openxmlformats.org/officeDocument/2006/relationships/tags" Target="../tags/tag641.xml"/><Relationship Id="rId1" Type="http://schemas.openxmlformats.org/officeDocument/2006/relationships/tags" Target="../tags/tag567.xml"/><Relationship Id="rId6" Type="http://schemas.openxmlformats.org/officeDocument/2006/relationships/tags" Target="../tags/tag572.xml"/><Relationship Id="rId15" Type="http://schemas.openxmlformats.org/officeDocument/2006/relationships/tags" Target="../tags/tag581.xml"/><Relationship Id="rId23" Type="http://schemas.openxmlformats.org/officeDocument/2006/relationships/tags" Target="../tags/tag589.xml"/><Relationship Id="rId28" Type="http://schemas.openxmlformats.org/officeDocument/2006/relationships/tags" Target="../tags/tag594.xml"/><Relationship Id="rId36" Type="http://schemas.openxmlformats.org/officeDocument/2006/relationships/tags" Target="../tags/tag602.xml"/><Relationship Id="rId49" Type="http://schemas.openxmlformats.org/officeDocument/2006/relationships/tags" Target="../tags/tag615.xml"/><Relationship Id="rId57" Type="http://schemas.openxmlformats.org/officeDocument/2006/relationships/tags" Target="../tags/tag623.xml"/><Relationship Id="rId10" Type="http://schemas.openxmlformats.org/officeDocument/2006/relationships/tags" Target="../tags/tag576.xml"/><Relationship Id="rId31" Type="http://schemas.openxmlformats.org/officeDocument/2006/relationships/tags" Target="../tags/tag597.xml"/><Relationship Id="rId44" Type="http://schemas.openxmlformats.org/officeDocument/2006/relationships/tags" Target="../tags/tag610.xml"/><Relationship Id="rId52" Type="http://schemas.openxmlformats.org/officeDocument/2006/relationships/tags" Target="../tags/tag618.xml"/><Relationship Id="rId60" Type="http://schemas.openxmlformats.org/officeDocument/2006/relationships/tags" Target="../tags/tag626.xml"/><Relationship Id="rId65" Type="http://schemas.openxmlformats.org/officeDocument/2006/relationships/tags" Target="../tags/tag631.xml"/><Relationship Id="rId73" Type="http://schemas.openxmlformats.org/officeDocument/2006/relationships/tags" Target="../tags/tag639.xml"/><Relationship Id="rId78" Type="http://schemas.openxmlformats.org/officeDocument/2006/relationships/notesSlide" Target="../notesSlides/notesSlide2.xml"/><Relationship Id="rId81" Type="http://schemas.openxmlformats.org/officeDocument/2006/relationships/chart" Target="../charts/chart2.xml"/><Relationship Id="rId4" Type="http://schemas.openxmlformats.org/officeDocument/2006/relationships/tags" Target="../tags/tag570.xml"/><Relationship Id="rId9" Type="http://schemas.openxmlformats.org/officeDocument/2006/relationships/tags" Target="../tags/tag575.xml"/><Relationship Id="rId13" Type="http://schemas.openxmlformats.org/officeDocument/2006/relationships/tags" Target="../tags/tag579.xml"/><Relationship Id="rId18" Type="http://schemas.openxmlformats.org/officeDocument/2006/relationships/tags" Target="../tags/tag584.xml"/><Relationship Id="rId39" Type="http://schemas.openxmlformats.org/officeDocument/2006/relationships/tags" Target="../tags/tag605.xml"/><Relationship Id="rId34" Type="http://schemas.openxmlformats.org/officeDocument/2006/relationships/tags" Target="../tags/tag600.xml"/><Relationship Id="rId50" Type="http://schemas.openxmlformats.org/officeDocument/2006/relationships/tags" Target="../tags/tag616.xml"/><Relationship Id="rId55" Type="http://schemas.openxmlformats.org/officeDocument/2006/relationships/tags" Target="../tags/tag621.xml"/><Relationship Id="rId76" Type="http://schemas.openxmlformats.org/officeDocument/2006/relationships/tags" Target="../tags/tag642.xml"/><Relationship Id="rId7" Type="http://schemas.openxmlformats.org/officeDocument/2006/relationships/tags" Target="../tags/tag573.xml"/><Relationship Id="rId71" Type="http://schemas.openxmlformats.org/officeDocument/2006/relationships/tags" Target="../tags/tag637.xml"/><Relationship Id="rId2" Type="http://schemas.openxmlformats.org/officeDocument/2006/relationships/tags" Target="../tags/tag568.xml"/><Relationship Id="rId29" Type="http://schemas.openxmlformats.org/officeDocument/2006/relationships/tags" Target="../tags/tag595.xml"/><Relationship Id="rId24" Type="http://schemas.openxmlformats.org/officeDocument/2006/relationships/tags" Target="../tags/tag590.xml"/><Relationship Id="rId40" Type="http://schemas.openxmlformats.org/officeDocument/2006/relationships/tags" Target="../tags/tag606.xml"/><Relationship Id="rId45" Type="http://schemas.openxmlformats.org/officeDocument/2006/relationships/tags" Target="../tags/tag611.xml"/><Relationship Id="rId66" Type="http://schemas.openxmlformats.org/officeDocument/2006/relationships/tags" Target="../tags/tag632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668.xml"/><Relationship Id="rId21" Type="http://schemas.openxmlformats.org/officeDocument/2006/relationships/tags" Target="../tags/tag663.xml"/><Relationship Id="rId42" Type="http://schemas.openxmlformats.org/officeDocument/2006/relationships/tags" Target="../tags/tag684.xml"/><Relationship Id="rId47" Type="http://schemas.openxmlformats.org/officeDocument/2006/relationships/tags" Target="../tags/tag689.xml"/><Relationship Id="rId63" Type="http://schemas.openxmlformats.org/officeDocument/2006/relationships/tags" Target="../tags/tag705.xml"/><Relationship Id="rId68" Type="http://schemas.openxmlformats.org/officeDocument/2006/relationships/tags" Target="../tags/tag710.xml"/><Relationship Id="rId2" Type="http://schemas.openxmlformats.org/officeDocument/2006/relationships/tags" Target="../tags/tag644.xml"/><Relationship Id="rId16" Type="http://schemas.openxmlformats.org/officeDocument/2006/relationships/tags" Target="../tags/tag658.xml"/><Relationship Id="rId29" Type="http://schemas.openxmlformats.org/officeDocument/2006/relationships/tags" Target="../tags/tag671.xml"/><Relationship Id="rId11" Type="http://schemas.openxmlformats.org/officeDocument/2006/relationships/tags" Target="../tags/tag653.xml"/><Relationship Id="rId24" Type="http://schemas.openxmlformats.org/officeDocument/2006/relationships/tags" Target="../tags/tag666.xml"/><Relationship Id="rId32" Type="http://schemas.openxmlformats.org/officeDocument/2006/relationships/tags" Target="../tags/tag674.xml"/><Relationship Id="rId37" Type="http://schemas.openxmlformats.org/officeDocument/2006/relationships/tags" Target="../tags/tag679.xml"/><Relationship Id="rId40" Type="http://schemas.openxmlformats.org/officeDocument/2006/relationships/tags" Target="../tags/tag682.xml"/><Relationship Id="rId45" Type="http://schemas.openxmlformats.org/officeDocument/2006/relationships/tags" Target="../tags/tag687.xml"/><Relationship Id="rId53" Type="http://schemas.openxmlformats.org/officeDocument/2006/relationships/tags" Target="../tags/tag695.xml"/><Relationship Id="rId58" Type="http://schemas.openxmlformats.org/officeDocument/2006/relationships/tags" Target="../tags/tag700.xml"/><Relationship Id="rId66" Type="http://schemas.openxmlformats.org/officeDocument/2006/relationships/tags" Target="../tags/tag708.xml"/><Relationship Id="rId74" Type="http://schemas.openxmlformats.org/officeDocument/2006/relationships/chart" Target="../charts/chart4.xml"/><Relationship Id="rId5" Type="http://schemas.openxmlformats.org/officeDocument/2006/relationships/tags" Target="../tags/tag647.xml"/><Relationship Id="rId61" Type="http://schemas.openxmlformats.org/officeDocument/2006/relationships/tags" Target="../tags/tag703.xml"/><Relationship Id="rId19" Type="http://schemas.openxmlformats.org/officeDocument/2006/relationships/tags" Target="../tags/tag661.xml"/><Relationship Id="rId14" Type="http://schemas.openxmlformats.org/officeDocument/2006/relationships/tags" Target="../tags/tag656.xml"/><Relationship Id="rId22" Type="http://schemas.openxmlformats.org/officeDocument/2006/relationships/tags" Target="../tags/tag664.xml"/><Relationship Id="rId27" Type="http://schemas.openxmlformats.org/officeDocument/2006/relationships/tags" Target="../tags/tag669.xml"/><Relationship Id="rId30" Type="http://schemas.openxmlformats.org/officeDocument/2006/relationships/tags" Target="../tags/tag672.xml"/><Relationship Id="rId35" Type="http://schemas.openxmlformats.org/officeDocument/2006/relationships/tags" Target="../tags/tag677.xml"/><Relationship Id="rId43" Type="http://schemas.openxmlformats.org/officeDocument/2006/relationships/tags" Target="../tags/tag685.xml"/><Relationship Id="rId48" Type="http://schemas.openxmlformats.org/officeDocument/2006/relationships/tags" Target="../tags/tag690.xml"/><Relationship Id="rId56" Type="http://schemas.openxmlformats.org/officeDocument/2006/relationships/tags" Target="../tags/tag698.xml"/><Relationship Id="rId64" Type="http://schemas.openxmlformats.org/officeDocument/2006/relationships/tags" Target="../tags/tag706.xml"/><Relationship Id="rId69" Type="http://schemas.openxmlformats.org/officeDocument/2006/relationships/tags" Target="../tags/tag711.xml"/><Relationship Id="rId8" Type="http://schemas.openxmlformats.org/officeDocument/2006/relationships/tags" Target="../tags/tag650.xml"/><Relationship Id="rId51" Type="http://schemas.openxmlformats.org/officeDocument/2006/relationships/tags" Target="../tags/tag693.xml"/><Relationship Id="rId72" Type="http://schemas.openxmlformats.org/officeDocument/2006/relationships/oleObject" Target="../embeddings/oleObject280.bin"/><Relationship Id="rId3" Type="http://schemas.openxmlformats.org/officeDocument/2006/relationships/tags" Target="../tags/tag645.xml"/><Relationship Id="rId12" Type="http://schemas.openxmlformats.org/officeDocument/2006/relationships/tags" Target="../tags/tag654.xml"/><Relationship Id="rId17" Type="http://schemas.openxmlformats.org/officeDocument/2006/relationships/tags" Target="../tags/tag659.xml"/><Relationship Id="rId25" Type="http://schemas.openxmlformats.org/officeDocument/2006/relationships/tags" Target="../tags/tag667.xml"/><Relationship Id="rId33" Type="http://schemas.openxmlformats.org/officeDocument/2006/relationships/tags" Target="../tags/tag675.xml"/><Relationship Id="rId38" Type="http://schemas.openxmlformats.org/officeDocument/2006/relationships/tags" Target="../tags/tag680.xml"/><Relationship Id="rId46" Type="http://schemas.openxmlformats.org/officeDocument/2006/relationships/tags" Target="../tags/tag688.xml"/><Relationship Id="rId59" Type="http://schemas.openxmlformats.org/officeDocument/2006/relationships/tags" Target="../tags/tag701.xml"/><Relationship Id="rId67" Type="http://schemas.openxmlformats.org/officeDocument/2006/relationships/tags" Target="../tags/tag709.xml"/><Relationship Id="rId20" Type="http://schemas.openxmlformats.org/officeDocument/2006/relationships/tags" Target="../tags/tag662.xml"/><Relationship Id="rId41" Type="http://schemas.openxmlformats.org/officeDocument/2006/relationships/tags" Target="../tags/tag683.xml"/><Relationship Id="rId54" Type="http://schemas.openxmlformats.org/officeDocument/2006/relationships/tags" Target="../tags/tag696.xml"/><Relationship Id="rId62" Type="http://schemas.openxmlformats.org/officeDocument/2006/relationships/tags" Target="../tags/tag704.xml"/><Relationship Id="rId70" Type="http://schemas.openxmlformats.org/officeDocument/2006/relationships/slideLayout" Target="../slideLayouts/slideLayout47.xml"/><Relationship Id="rId75" Type="http://schemas.openxmlformats.org/officeDocument/2006/relationships/chart" Target="../charts/chart5.xml"/><Relationship Id="rId1" Type="http://schemas.openxmlformats.org/officeDocument/2006/relationships/tags" Target="../tags/tag643.xml"/><Relationship Id="rId6" Type="http://schemas.openxmlformats.org/officeDocument/2006/relationships/tags" Target="../tags/tag648.xml"/><Relationship Id="rId15" Type="http://schemas.openxmlformats.org/officeDocument/2006/relationships/tags" Target="../tags/tag657.xml"/><Relationship Id="rId23" Type="http://schemas.openxmlformats.org/officeDocument/2006/relationships/tags" Target="../tags/tag665.xml"/><Relationship Id="rId28" Type="http://schemas.openxmlformats.org/officeDocument/2006/relationships/tags" Target="../tags/tag670.xml"/><Relationship Id="rId36" Type="http://schemas.openxmlformats.org/officeDocument/2006/relationships/tags" Target="../tags/tag678.xml"/><Relationship Id="rId49" Type="http://schemas.openxmlformats.org/officeDocument/2006/relationships/tags" Target="../tags/tag691.xml"/><Relationship Id="rId57" Type="http://schemas.openxmlformats.org/officeDocument/2006/relationships/tags" Target="../tags/tag699.xml"/><Relationship Id="rId10" Type="http://schemas.openxmlformats.org/officeDocument/2006/relationships/tags" Target="../tags/tag652.xml"/><Relationship Id="rId31" Type="http://schemas.openxmlformats.org/officeDocument/2006/relationships/tags" Target="../tags/tag673.xml"/><Relationship Id="rId44" Type="http://schemas.openxmlformats.org/officeDocument/2006/relationships/tags" Target="../tags/tag686.xml"/><Relationship Id="rId52" Type="http://schemas.openxmlformats.org/officeDocument/2006/relationships/tags" Target="../tags/tag694.xml"/><Relationship Id="rId60" Type="http://schemas.openxmlformats.org/officeDocument/2006/relationships/tags" Target="../tags/tag702.xml"/><Relationship Id="rId65" Type="http://schemas.openxmlformats.org/officeDocument/2006/relationships/tags" Target="../tags/tag707.xml"/><Relationship Id="rId73" Type="http://schemas.openxmlformats.org/officeDocument/2006/relationships/image" Target="../media/image30.emf"/><Relationship Id="rId4" Type="http://schemas.openxmlformats.org/officeDocument/2006/relationships/tags" Target="../tags/tag646.xml"/><Relationship Id="rId9" Type="http://schemas.openxmlformats.org/officeDocument/2006/relationships/tags" Target="../tags/tag651.xml"/><Relationship Id="rId13" Type="http://schemas.openxmlformats.org/officeDocument/2006/relationships/tags" Target="../tags/tag655.xml"/><Relationship Id="rId18" Type="http://schemas.openxmlformats.org/officeDocument/2006/relationships/tags" Target="../tags/tag660.xml"/><Relationship Id="rId39" Type="http://schemas.openxmlformats.org/officeDocument/2006/relationships/tags" Target="../tags/tag681.xml"/><Relationship Id="rId34" Type="http://schemas.openxmlformats.org/officeDocument/2006/relationships/tags" Target="../tags/tag676.xml"/><Relationship Id="rId50" Type="http://schemas.openxmlformats.org/officeDocument/2006/relationships/tags" Target="../tags/tag692.xml"/><Relationship Id="rId55" Type="http://schemas.openxmlformats.org/officeDocument/2006/relationships/tags" Target="../tags/tag697.xml"/><Relationship Id="rId7" Type="http://schemas.openxmlformats.org/officeDocument/2006/relationships/tags" Target="../tags/tag649.xml"/><Relationship Id="rId71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737.xml"/><Relationship Id="rId21" Type="http://schemas.openxmlformats.org/officeDocument/2006/relationships/tags" Target="../tags/tag732.xml"/><Relationship Id="rId34" Type="http://schemas.openxmlformats.org/officeDocument/2006/relationships/tags" Target="../tags/tag745.xml"/><Relationship Id="rId42" Type="http://schemas.openxmlformats.org/officeDocument/2006/relationships/tags" Target="../tags/tag753.xml"/><Relationship Id="rId47" Type="http://schemas.openxmlformats.org/officeDocument/2006/relationships/tags" Target="../tags/tag758.xml"/><Relationship Id="rId50" Type="http://schemas.openxmlformats.org/officeDocument/2006/relationships/tags" Target="../tags/tag761.xml"/><Relationship Id="rId55" Type="http://schemas.openxmlformats.org/officeDocument/2006/relationships/tags" Target="../tags/tag766.xml"/><Relationship Id="rId63" Type="http://schemas.openxmlformats.org/officeDocument/2006/relationships/image" Target="../media/image30.emf"/><Relationship Id="rId7" Type="http://schemas.openxmlformats.org/officeDocument/2006/relationships/tags" Target="../tags/tag718.xml"/><Relationship Id="rId2" Type="http://schemas.openxmlformats.org/officeDocument/2006/relationships/tags" Target="../tags/tag713.xml"/><Relationship Id="rId16" Type="http://schemas.openxmlformats.org/officeDocument/2006/relationships/tags" Target="../tags/tag727.xml"/><Relationship Id="rId29" Type="http://schemas.openxmlformats.org/officeDocument/2006/relationships/tags" Target="../tags/tag740.xml"/><Relationship Id="rId11" Type="http://schemas.openxmlformats.org/officeDocument/2006/relationships/tags" Target="../tags/tag722.xml"/><Relationship Id="rId24" Type="http://schemas.openxmlformats.org/officeDocument/2006/relationships/tags" Target="../tags/tag735.xml"/><Relationship Id="rId32" Type="http://schemas.openxmlformats.org/officeDocument/2006/relationships/tags" Target="../tags/tag743.xml"/><Relationship Id="rId37" Type="http://schemas.openxmlformats.org/officeDocument/2006/relationships/tags" Target="../tags/tag748.xml"/><Relationship Id="rId40" Type="http://schemas.openxmlformats.org/officeDocument/2006/relationships/tags" Target="../tags/tag751.xml"/><Relationship Id="rId45" Type="http://schemas.openxmlformats.org/officeDocument/2006/relationships/tags" Target="../tags/tag756.xml"/><Relationship Id="rId53" Type="http://schemas.openxmlformats.org/officeDocument/2006/relationships/tags" Target="../tags/tag764.xml"/><Relationship Id="rId58" Type="http://schemas.openxmlformats.org/officeDocument/2006/relationships/tags" Target="../tags/tag769.xml"/><Relationship Id="rId5" Type="http://schemas.openxmlformats.org/officeDocument/2006/relationships/tags" Target="../tags/tag716.xml"/><Relationship Id="rId61" Type="http://schemas.openxmlformats.org/officeDocument/2006/relationships/notesSlide" Target="../notesSlides/notesSlide4.xml"/><Relationship Id="rId19" Type="http://schemas.openxmlformats.org/officeDocument/2006/relationships/tags" Target="../tags/tag730.xml"/><Relationship Id="rId14" Type="http://schemas.openxmlformats.org/officeDocument/2006/relationships/tags" Target="../tags/tag725.xml"/><Relationship Id="rId22" Type="http://schemas.openxmlformats.org/officeDocument/2006/relationships/tags" Target="../tags/tag733.xml"/><Relationship Id="rId27" Type="http://schemas.openxmlformats.org/officeDocument/2006/relationships/tags" Target="../tags/tag738.xml"/><Relationship Id="rId30" Type="http://schemas.openxmlformats.org/officeDocument/2006/relationships/tags" Target="../tags/tag741.xml"/><Relationship Id="rId35" Type="http://schemas.openxmlformats.org/officeDocument/2006/relationships/tags" Target="../tags/tag746.xml"/><Relationship Id="rId43" Type="http://schemas.openxmlformats.org/officeDocument/2006/relationships/tags" Target="../tags/tag754.xml"/><Relationship Id="rId48" Type="http://schemas.openxmlformats.org/officeDocument/2006/relationships/tags" Target="../tags/tag759.xml"/><Relationship Id="rId56" Type="http://schemas.openxmlformats.org/officeDocument/2006/relationships/tags" Target="../tags/tag767.xml"/><Relationship Id="rId64" Type="http://schemas.openxmlformats.org/officeDocument/2006/relationships/chart" Target="../charts/chart6.xml"/><Relationship Id="rId8" Type="http://schemas.openxmlformats.org/officeDocument/2006/relationships/tags" Target="../tags/tag719.xml"/><Relationship Id="rId51" Type="http://schemas.openxmlformats.org/officeDocument/2006/relationships/tags" Target="../tags/tag762.xml"/><Relationship Id="rId3" Type="http://schemas.openxmlformats.org/officeDocument/2006/relationships/tags" Target="../tags/tag714.xml"/><Relationship Id="rId12" Type="http://schemas.openxmlformats.org/officeDocument/2006/relationships/tags" Target="../tags/tag723.xml"/><Relationship Id="rId17" Type="http://schemas.openxmlformats.org/officeDocument/2006/relationships/tags" Target="../tags/tag728.xml"/><Relationship Id="rId25" Type="http://schemas.openxmlformats.org/officeDocument/2006/relationships/tags" Target="../tags/tag736.xml"/><Relationship Id="rId33" Type="http://schemas.openxmlformats.org/officeDocument/2006/relationships/tags" Target="../tags/tag744.xml"/><Relationship Id="rId38" Type="http://schemas.openxmlformats.org/officeDocument/2006/relationships/tags" Target="../tags/tag749.xml"/><Relationship Id="rId46" Type="http://schemas.openxmlformats.org/officeDocument/2006/relationships/tags" Target="../tags/tag757.xml"/><Relationship Id="rId59" Type="http://schemas.openxmlformats.org/officeDocument/2006/relationships/tags" Target="../tags/tag770.xml"/><Relationship Id="rId20" Type="http://schemas.openxmlformats.org/officeDocument/2006/relationships/tags" Target="../tags/tag731.xml"/><Relationship Id="rId41" Type="http://schemas.openxmlformats.org/officeDocument/2006/relationships/tags" Target="../tags/tag752.xml"/><Relationship Id="rId54" Type="http://schemas.openxmlformats.org/officeDocument/2006/relationships/tags" Target="../tags/tag765.xml"/><Relationship Id="rId62" Type="http://schemas.openxmlformats.org/officeDocument/2006/relationships/oleObject" Target="../embeddings/oleObject281.bin"/><Relationship Id="rId1" Type="http://schemas.openxmlformats.org/officeDocument/2006/relationships/tags" Target="../tags/tag712.xml"/><Relationship Id="rId6" Type="http://schemas.openxmlformats.org/officeDocument/2006/relationships/tags" Target="../tags/tag717.xml"/><Relationship Id="rId15" Type="http://schemas.openxmlformats.org/officeDocument/2006/relationships/tags" Target="../tags/tag726.xml"/><Relationship Id="rId23" Type="http://schemas.openxmlformats.org/officeDocument/2006/relationships/tags" Target="../tags/tag734.xml"/><Relationship Id="rId28" Type="http://schemas.openxmlformats.org/officeDocument/2006/relationships/tags" Target="../tags/tag739.xml"/><Relationship Id="rId36" Type="http://schemas.openxmlformats.org/officeDocument/2006/relationships/tags" Target="../tags/tag747.xml"/><Relationship Id="rId49" Type="http://schemas.openxmlformats.org/officeDocument/2006/relationships/tags" Target="../tags/tag760.xml"/><Relationship Id="rId57" Type="http://schemas.openxmlformats.org/officeDocument/2006/relationships/tags" Target="../tags/tag768.xml"/><Relationship Id="rId10" Type="http://schemas.openxmlformats.org/officeDocument/2006/relationships/tags" Target="../tags/tag721.xml"/><Relationship Id="rId31" Type="http://schemas.openxmlformats.org/officeDocument/2006/relationships/tags" Target="../tags/tag742.xml"/><Relationship Id="rId44" Type="http://schemas.openxmlformats.org/officeDocument/2006/relationships/tags" Target="../tags/tag755.xml"/><Relationship Id="rId52" Type="http://schemas.openxmlformats.org/officeDocument/2006/relationships/tags" Target="../tags/tag763.xml"/><Relationship Id="rId60" Type="http://schemas.openxmlformats.org/officeDocument/2006/relationships/slideLayout" Target="../slideLayouts/slideLayout47.xml"/><Relationship Id="rId65" Type="http://schemas.openxmlformats.org/officeDocument/2006/relationships/chart" Target="../charts/chart7.xml"/><Relationship Id="rId4" Type="http://schemas.openxmlformats.org/officeDocument/2006/relationships/tags" Target="../tags/tag715.xml"/><Relationship Id="rId9" Type="http://schemas.openxmlformats.org/officeDocument/2006/relationships/tags" Target="../tags/tag720.xml"/><Relationship Id="rId13" Type="http://schemas.openxmlformats.org/officeDocument/2006/relationships/tags" Target="../tags/tag724.xml"/><Relationship Id="rId18" Type="http://schemas.openxmlformats.org/officeDocument/2006/relationships/tags" Target="../tags/tag729.xml"/><Relationship Id="rId39" Type="http://schemas.openxmlformats.org/officeDocument/2006/relationships/tags" Target="../tags/tag750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783.xml"/><Relationship Id="rId18" Type="http://schemas.openxmlformats.org/officeDocument/2006/relationships/tags" Target="../tags/tag788.xml"/><Relationship Id="rId26" Type="http://schemas.openxmlformats.org/officeDocument/2006/relationships/tags" Target="../tags/tag796.xml"/><Relationship Id="rId39" Type="http://schemas.openxmlformats.org/officeDocument/2006/relationships/tags" Target="../tags/tag809.xml"/><Relationship Id="rId21" Type="http://schemas.openxmlformats.org/officeDocument/2006/relationships/tags" Target="../tags/tag791.xml"/><Relationship Id="rId34" Type="http://schemas.openxmlformats.org/officeDocument/2006/relationships/tags" Target="../tags/tag804.xml"/><Relationship Id="rId42" Type="http://schemas.openxmlformats.org/officeDocument/2006/relationships/tags" Target="../tags/tag812.xml"/><Relationship Id="rId47" Type="http://schemas.openxmlformats.org/officeDocument/2006/relationships/tags" Target="../tags/tag817.xml"/><Relationship Id="rId50" Type="http://schemas.openxmlformats.org/officeDocument/2006/relationships/tags" Target="../tags/tag820.xml"/><Relationship Id="rId55" Type="http://schemas.openxmlformats.org/officeDocument/2006/relationships/tags" Target="../tags/tag825.xml"/><Relationship Id="rId7" Type="http://schemas.openxmlformats.org/officeDocument/2006/relationships/tags" Target="../tags/tag777.xml"/><Relationship Id="rId2" Type="http://schemas.openxmlformats.org/officeDocument/2006/relationships/tags" Target="../tags/tag772.xml"/><Relationship Id="rId16" Type="http://schemas.openxmlformats.org/officeDocument/2006/relationships/tags" Target="../tags/tag786.xml"/><Relationship Id="rId29" Type="http://schemas.openxmlformats.org/officeDocument/2006/relationships/tags" Target="../tags/tag799.xml"/><Relationship Id="rId11" Type="http://schemas.openxmlformats.org/officeDocument/2006/relationships/tags" Target="../tags/tag781.xml"/><Relationship Id="rId24" Type="http://schemas.openxmlformats.org/officeDocument/2006/relationships/tags" Target="../tags/tag794.xml"/><Relationship Id="rId32" Type="http://schemas.openxmlformats.org/officeDocument/2006/relationships/tags" Target="../tags/tag802.xml"/><Relationship Id="rId37" Type="http://schemas.openxmlformats.org/officeDocument/2006/relationships/tags" Target="../tags/tag807.xml"/><Relationship Id="rId40" Type="http://schemas.openxmlformats.org/officeDocument/2006/relationships/tags" Target="../tags/tag810.xml"/><Relationship Id="rId45" Type="http://schemas.openxmlformats.org/officeDocument/2006/relationships/tags" Target="../tags/tag815.xml"/><Relationship Id="rId53" Type="http://schemas.openxmlformats.org/officeDocument/2006/relationships/tags" Target="../tags/tag823.xml"/><Relationship Id="rId58" Type="http://schemas.openxmlformats.org/officeDocument/2006/relationships/oleObject" Target="../embeddings/oleObject282.bin"/><Relationship Id="rId5" Type="http://schemas.openxmlformats.org/officeDocument/2006/relationships/tags" Target="../tags/tag775.xml"/><Relationship Id="rId19" Type="http://schemas.openxmlformats.org/officeDocument/2006/relationships/tags" Target="../tags/tag789.xml"/><Relationship Id="rId4" Type="http://schemas.openxmlformats.org/officeDocument/2006/relationships/tags" Target="../tags/tag774.xml"/><Relationship Id="rId9" Type="http://schemas.openxmlformats.org/officeDocument/2006/relationships/tags" Target="../tags/tag779.xml"/><Relationship Id="rId14" Type="http://schemas.openxmlformats.org/officeDocument/2006/relationships/tags" Target="../tags/tag784.xml"/><Relationship Id="rId22" Type="http://schemas.openxmlformats.org/officeDocument/2006/relationships/tags" Target="../tags/tag792.xml"/><Relationship Id="rId27" Type="http://schemas.openxmlformats.org/officeDocument/2006/relationships/tags" Target="../tags/tag797.xml"/><Relationship Id="rId30" Type="http://schemas.openxmlformats.org/officeDocument/2006/relationships/tags" Target="../tags/tag800.xml"/><Relationship Id="rId35" Type="http://schemas.openxmlformats.org/officeDocument/2006/relationships/tags" Target="../tags/tag805.xml"/><Relationship Id="rId43" Type="http://schemas.openxmlformats.org/officeDocument/2006/relationships/tags" Target="../tags/tag813.xml"/><Relationship Id="rId48" Type="http://schemas.openxmlformats.org/officeDocument/2006/relationships/tags" Target="../tags/tag818.xml"/><Relationship Id="rId56" Type="http://schemas.openxmlformats.org/officeDocument/2006/relationships/tags" Target="../tags/tag826.xml"/><Relationship Id="rId8" Type="http://schemas.openxmlformats.org/officeDocument/2006/relationships/tags" Target="../tags/tag778.xml"/><Relationship Id="rId51" Type="http://schemas.openxmlformats.org/officeDocument/2006/relationships/tags" Target="../tags/tag821.xml"/><Relationship Id="rId3" Type="http://schemas.openxmlformats.org/officeDocument/2006/relationships/tags" Target="../tags/tag773.xml"/><Relationship Id="rId12" Type="http://schemas.openxmlformats.org/officeDocument/2006/relationships/tags" Target="../tags/tag782.xml"/><Relationship Id="rId17" Type="http://schemas.openxmlformats.org/officeDocument/2006/relationships/tags" Target="../tags/tag787.xml"/><Relationship Id="rId25" Type="http://schemas.openxmlformats.org/officeDocument/2006/relationships/tags" Target="../tags/tag795.xml"/><Relationship Id="rId33" Type="http://schemas.openxmlformats.org/officeDocument/2006/relationships/tags" Target="../tags/tag803.xml"/><Relationship Id="rId38" Type="http://schemas.openxmlformats.org/officeDocument/2006/relationships/tags" Target="../tags/tag808.xml"/><Relationship Id="rId46" Type="http://schemas.openxmlformats.org/officeDocument/2006/relationships/tags" Target="../tags/tag816.xml"/><Relationship Id="rId59" Type="http://schemas.openxmlformats.org/officeDocument/2006/relationships/image" Target="../media/image30.emf"/><Relationship Id="rId20" Type="http://schemas.openxmlformats.org/officeDocument/2006/relationships/tags" Target="../tags/tag790.xml"/><Relationship Id="rId41" Type="http://schemas.openxmlformats.org/officeDocument/2006/relationships/tags" Target="../tags/tag811.xml"/><Relationship Id="rId54" Type="http://schemas.openxmlformats.org/officeDocument/2006/relationships/tags" Target="../tags/tag824.xml"/><Relationship Id="rId1" Type="http://schemas.openxmlformats.org/officeDocument/2006/relationships/tags" Target="../tags/tag771.xml"/><Relationship Id="rId6" Type="http://schemas.openxmlformats.org/officeDocument/2006/relationships/tags" Target="../tags/tag776.xml"/><Relationship Id="rId15" Type="http://schemas.openxmlformats.org/officeDocument/2006/relationships/tags" Target="../tags/tag785.xml"/><Relationship Id="rId23" Type="http://schemas.openxmlformats.org/officeDocument/2006/relationships/tags" Target="../tags/tag793.xml"/><Relationship Id="rId28" Type="http://schemas.openxmlformats.org/officeDocument/2006/relationships/tags" Target="../tags/tag798.xml"/><Relationship Id="rId36" Type="http://schemas.openxmlformats.org/officeDocument/2006/relationships/tags" Target="../tags/tag806.xml"/><Relationship Id="rId49" Type="http://schemas.openxmlformats.org/officeDocument/2006/relationships/tags" Target="../tags/tag819.xml"/><Relationship Id="rId57" Type="http://schemas.openxmlformats.org/officeDocument/2006/relationships/slideLayout" Target="../slideLayouts/slideLayout47.xml"/><Relationship Id="rId10" Type="http://schemas.openxmlformats.org/officeDocument/2006/relationships/tags" Target="../tags/tag780.xml"/><Relationship Id="rId31" Type="http://schemas.openxmlformats.org/officeDocument/2006/relationships/tags" Target="../tags/tag801.xml"/><Relationship Id="rId44" Type="http://schemas.openxmlformats.org/officeDocument/2006/relationships/tags" Target="../tags/tag814.xml"/><Relationship Id="rId52" Type="http://schemas.openxmlformats.org/officeDocument/2006/relationships/tags" Target="../tags/tag822.xml"/><Relationship Id="rId60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839.xml"/><Relationship Id="rId18" Type="http://schemas.openxmlformats.org/officeDocument/2006/relationships/tags" Target="../tags/tag844.xml"/><Relationship Id="rId26" Type="http://schemas.openxmlformats.org/officeDocument/2006/relationships/tags" Target="../tags/tag852.xml"/><Relationship Id="rId39" Type="http://schemas.openxmlformats.org/officeDocument/2006/relationships/tags" Target="../tags/tag865.xml"/><Relationship Id="rId21" Type="http://schemas.openxmlformats.org/officeDocument/2006/relationships/tags" Target="../tags/tag847.xml"/><Relationship Id="rId34" Type="http://schemas.openxmlformats.org/officeDocument/2006/relationships/tags" Target="../tags/tag860.xml"/><Relationship Id="rId42" Type="http://schemas.openxmlformats.org/officeDocument/2006/relationships/tags" Target="../tags/tag868.xml"/><Relationship Id="rId47" Type="http://schemas.openxmlformats.org/officeDocument/2006/relationships/tags" Target="../tags/tag873.xml"/><Relationship Id="rId50" Type="http://schemas.openxmlformats.org/officeDocument/2006/relationships/tags" Target="../tags/tag876.xml"/><Relationship Id="rId55" Type="http://schemas.openxmlformats.org/officeDocument/2006/relationships/tags" Target="../tags/tag881.xml"/><Relationship Id="rId7" Type="http://schemas.openxmlformats.org/officeDocument/2006/relationships/tags" Target="../tags/tag833.xml"/><Relationship Id="rId2" Type="http://schemas.openxmlformats.org/officeDocument/2006/relationships/tags" Target="../tags/tag828.xml"/><Relationship Id="rId16" Type="http://schemas.openxmlformats.org/officeDocument/2006/relationships/tags" Target="../tags/tag842.xml"/><Relationship Id="rId29" Type="http://schemas.openxmlformats.org/officeDocument/2006/relationships/tags" Target="../tags/tag855.xml"/><Relationship Id="rId11" Type="http://schemas.openxmlformats.org/officeDocument/2006/relationships/tags" Target="../tags/tag837.xml"/><Relationship Id="rId24" Type="http://schemas.openxmlformats.org/officeDocument/2006/relationships/tags" Target="../tags/tag850.xml"/><Relationship Id="rId32" Type="http://schemas.openxmlformats.org/officeDocument/2006/relationships/tags" Target="../tags/tag858.xml"/><Relationship Id="rId37" Type="http://schemas.openxmlformats.org/officeDocument/2006/relationships/tags" Target="../tags/tag863.xml"/><Relationship Id="rId40" Type="http://schemas.openxmlformats.org/officeDocument/2006/relationships/tags" Target="../tags/tag866.xml"/><Relationship Id="rId45" Type="http://schemas.openxmlformats.org/officeDocument/2006/relationships/tags" Target="../tags/tag871.xml"/><Relationship Id="rId53" Type="http://schemas.openxmlformats.org/officeDocument/2006/relationships/tags" Target="../tags/tag879.xml"/><Relationship Id="rId58" Type="http://schemas.openxmlformats.org/officeDocument/2006/relationships/image" Target="../media/image30.emf"/><Relationship Id="rId5" Type="http://schemas.openxmlformats.org/officeDocument/2006/relationships/tags" Target="../tags/tag831.xml"/><Relationship Id="rId19" Type="http://schemas.openxmlformats.org/officeDocument/2006/relationships/tags" Target="../tags/tag845.xml"/><Relationship Id="rId4" Type="http://schemas.openxmlformats.org/officeDocument/2006/relationships/tags" Target="../tags/tag830.xml"/><Relationship Id="rId9" Type="http://schemas.openxmlformats.org/officeDocument/2006/relationships/tags" Target="../tags/tag835.xml"/><Relationship Id="rId14" Type="http://schemas.openxmlformats.org/officeDocument/2006/relationships/tags" Target="../tags/tag840.xml"/><Relationship Id="rId22" Type="http://schemas.openxmlformats.org/officeDocument/2006/relationships/tags" Target="../tags/tag848.xml"/><Relationship Id="rId27" Type="http://schemas.openxmlformats.org/officeDocument/2006/relationships/tags" Target="../tags/tag853.xml"/><Relationship Id="rId30" Type="http://schemas.openxmlformats.org/officeDocument/2006/relationships/tags" Target="../tags/tag856.xml"/><Relationship Id="rId35" Type="http://schemas.openxmlformats.org/officeDocument/2006/relationships/tags" Target="../tags/tag861.xml"/><Relationship Id="rId43" Type="http://schemas.openxmlformats.org/officeDocument/2006/relationships/tags" Target="../tags/tag869.xml"/><Relationship Id="rId48" Type="http://schemas.openxmlformats.org/officeDocument/2006/relationships/tags" Target="../tags/tag874.xml"/><Relationship Id="rId56" Type="http://schemas.openxmlformats.org/officeDocument/2006/relationships/slideLayout" Target="../slideLayouts/slideLayout47.xml"/><Relationship Id="rId8" Type="http://schemas.openxmlformats.org/officeDocument/2006/relationships/tags" Target="../tags/tag834.xml"/><Relationship Id="rId51" Type="http://schemas.openxmlformats.org/officeDocument/2006/relationships/tags" Target="../tags/tag877.xml"/><Relationship Id="rId3" Type="http://schemas.openxmlformats.org/officeDocument/2006/relationships/tags" Target="../tags/tag829.xml"/><Relationship Id="rId12" Type="http://schemas.openxmlformats.org/officeDocument/2006/relationships/tags" Target="../tags/tag838.xml"/><Relationship Id="rId17" Type="http://schemas.openxmlformats.org/officeDocument/2006/relationships/tags" Target="../tags/tag843.xml"/><Relationship Id="rId25" Type="http://schemas.openxmlformats.org/officeDocument/2006/relationships/tags" Target="../tags/tag851.xml"/><Relationship Id="rId33" Type="http://schemas.openxmlformats.org/officeDocument/2006/relationships/tags" Target="../tags/tag859.xml"/><Relationship Id="rId38" Type="http://schemas.openxmlformats.org/officeDocument/2006/relationships/tags" Target="../tags/tag864.xml"/><Relationship Id="rId46" Type="http://schemas.openxmlformats.org/officeDocument/2006/relationships/tags" Target="../tags/tag872.xml"/><Relationship Id="rId59" Type="http://schemas.openxmlformats.org/officeDocument/2006/relationships/chart" Target="../charts/chart9.xml"/><Relationship Id="rId20" Type="http://schemas.openxmlformats.org/officeDocument/2006/relationships/tags" Target="../tags/tag846.xml"/><Relationship Id="rId41" Type="http://schemas.openxmlformats.org/officeDocument/2006/relationships/tags" Target="../tags/tag867.xml"/><Relationship Id="rId54" Type="http://schemas.openxmlformats.org/officeDocument/2006/relationships/tags" Target="../tags/tag880.xml"/><Relationship Id="rId1" Type="http://schemas.openxmlformats.org/officeDocument/2006/relationships/tags" Target="../tags/tag827.xml"/><Relationship Id="rId6" Type="http://schemas.openxmlformats.org/officeDocument/2006/relationships/tags" Target="../tags/tag832.xml"/><Relationship Id="rId15" Type="http://schemas.openxmlformats.org/officeDocument/2006/relationships/tags" Target="../tags/tag841.xml"/><Relationship Id="rId23" Type="http://schemas.openxmlformats.org/officeDocument/2006/relationships/tags" Target="../tags/tag849.xml"/><Relationship Id="rId28" Type="http://schemas.openxmlformats.org/officeDocument/2006/relationships/tags" Target="../tags/tag854.xml"/><Relationship Id="rId36" Type="http://schemas.openxmlformats.org/officeDocument/2006/relationships/tags" Target="../tags/tag862.xml"/><Relationship Id="rId49" Type="http://schemas.openxmlformats.org/officeDocument/2006/relationships/tags" Target="../tags/tag875.xml"/><Relationship Id="rId57" Type="http://schemas.openxmlformats.org/officeDocument/2006/relationships/oleObject" Target="../embeddings/oleObject283.bin"/><Relationship Id="rId10" Type="http://schemas.openxmlformats.org/officeDocument/2006/relationships/tags" Target="../tags/tag836.xml"/><Relationship Id="rId31" Type="http://schemas.openxmlformats.org/officeDocument/2006/relationships/tags" Target="../tags/tag857.xml"/><Relationship Id="rId44" Type="http://schemas.openxmlformats.org/officeDocument/2006/relationships/tags" Target="../tags/tag870.xml"/><Relationship Id="rId52" Type="http://schemas.openxmlformats.org/officeDocument/2006/relationships/tags" Target="../tags/tag878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94.xml"/><Relationship Id="rId18" Type="http://schemas.openxmlformats.org/officeDocument/2006/relationships/tags" Target="../tags/tag899.xml"/><Relationship Id="rId26" Type="http://schemas.openxmlformats.org/officeDocument/2006/relationships/tags" Target="../tags/tag907.xml"/><Relationship Id="rId39" Type="http://schemas.openxmlformats.org/officeDocument/2006/relationships/tags" Target="../tags/tag920.xml"/><Relationship Id="rId21" Type="http://schemas.openxmlformats.org/officeDocument/2006/relationships/tags" Target="../tags/tag902.xml"/><Relationship Id="rId34" Type="http://schemas.openxmlformats.org/officeDocument/2006/relationships/tags" Target="../tags/tag915.xml"/><Relationship Id="rId42" Type="http://schemas.openxmlformats.org/officeDocument/2006/relationships/tags" Target="../tags/tag923.xml"/><Relationship Id="rId47" Type="http://schemas.openxmlformats.org/officeDocument/2006/relationships/tags" Target="../tags/tag928.xml"/><Relationship Id="rId50" Type="http://schemas.openxmlformats.org/officeDocument/2006/relationships/tags" Target="../tags/tag931.xml"/><Relationship Id="rId55" Type="http://schemas.openxmlformats.org/officeDocument/2006/relationships/chart" Target="../charts/chart10.xml"/><Relationship Id="rId7" Type="http://schemas.openxmlformats.org/officeDocument/2006/relationships/tags" Target="../tags/tag888.xml"/><Relationship Id="rId2" Type="http://schemas.openxmlformats.org/officeDocument/2006/relationships/tags" Target="../tags/tag883.xml"/><Relationship Id="rId16" Type="http://schemas.openxmlformats.org/officeDocument/2006/relationships/tags" Target="../tags/tag897.xml"/><Relationship Id="rId29" Type="http://schemas.openxmlformats.org/officeDocument/2006/relationships/tags" Target="../tags/tag910.xml"/><Relationship Id="rId11" Type="http://schemas.openxmlformats.org/officeDocument/2006/relationships/tags" Target="../tags/tag892.xml"/><Relationship Id="rId24" Type="http://schemas.openxmlformats.org/officeDocument/2006/relationships/tags" Target="../tags/tag905.xml"/><Relationship Id="rId32" Type="http://schemas.openxmlformats.org/officeDocument/2006/relationships/tags" Target="../tags/tag913.xml"/><Relationship Id="rId37" Type="http://schemas.openxmlformats.org/officeDocument/2006/relationships/tags" Target="../tags/tag918.xml"/><Relationship Id="rId40" Type="http://schemas.openxmlformats.org/officeDocument/2006/relationships/tags" Target="../tags/tag921.xml"/><Relationship Id="rId45" Type="http://schemas.openxmlformats.org/officeDocument/2006/relationships/tags" Target="../tags/tag926.xml"/><Relationship Id="rId53" Type="http://schemas.openxmlformats.org/officeDocument/2006/relationships/oleObject" Target="../embeddings/oleObject284.bin"/><Relationship Id="rId5" Type="http://schemas.openxmlformats.org/officeDocument/2006/relationships/tags" Target="../tags/tag886.xml"/><Relationship Id="rId10" Type="http://schemas.openxmlformats.org/officeDocument/2006/relationships/tags" Target="../tags/tag891.xml"/><Relationship Id="rId19" Type="http://schemas.openxmlformats.org/officeDocument/2006/relationships/tags" Target="../tags/tag900.xml"/><Relationship Id="rId31" Type="http://schemas.openxmlformats.org/officeDocument/2006/relationships/tags" Target="../tags/tag912.xml"/><Relationship Id="rId44" Type="http://schemas.openxmlformats.org/officeDocument/2006/relationships/tags" Target="../tags/tag925.xml"/><Relationship Id="rId52" Type="http://schemas.openxmlformats.org/officeDocument/2006/relationships/slideLayout" Target="../slideLayouts/slideLayout47.xml"/><Relationship Id="rId4" Type="http://schemas.openxmlformats.org/officeDocument/2006/relationships/tags" Target="../tags/tag885.xml"/><Relationship Id="rId9" Type="http://schemas.openxmlformats.org/officeDocument/2006/relationships/tags" Target="../tags/tag890.xml"/><Relationship Id="rId14" Type="http://schemas.openxmlformats.org/officeDocument/2006/relationships/tags" Target="../tags/tag895.xml"/><Relationship Id="rId22" Type="http://schemas.openxmlformats.org/officeDocument/2006/relationships/tags" Target="../tags/tag903.xml"/><Relationship Id="rId27" Type="http://schemas.openxmlformats.org/officeDocument/2006/relationships/tags" Target="../tags/tag908.xml"/><Relationship Id="rId30" Type="http://schemas.openxmlformats.org/officeDocument/2006/relationships/tags" Target="../tags/tag911.xml"/><Relationship Id="rId35" Type="http://schemas.openxmlformats.org/officeDocument/2006/relationships/tags" Target="../tags/tag916.xml"/><Relationship Id="rId43" Type="http://schemas.openxmlformats.org/officeDocument/2006/relationships/tags" Target="../tags/tag924.xml"/><Relationship Id="rId48" Type="http://schemas.openxmlformats.org/officeDocument/2006/relationships/tags" Target="../tags/tag929.xml"/><Relationship Id="rId8" Type="http://schemas.openxmlformats.org/officeDocument/2006/relationships/tags" Target="../tags/tag889.xml"/><Relationship Id="rId51" Type="http://schemas.openxmlformats.org/officeDocument/2006/relationships/tags" Target="../tags/tag932.xml"/><Relationship Id="rId3" Type="http://schemas.openxmlformats.org/officeDocument/2006/relationships/tags" Target="../tags/tag884.xml"/><Relationship Id="rId12" Type="http://schemas.openxmlformats.org/officeDocument/2006/relationships/tags" Target="../tags/tag893.xml"/><Relationship Id="rId17" Type="http://schemas.openxmlformats.org/officeDocument/2006/relationships/tags" Target="../tags/tag898.xml"/><Relationship Id="rId25" Type="http://schemas.openxmlformats.org/officeDocument/2006/relationships/tags" Target="../tags/tag906.xml"/><Relationship Id="rId33" Type="http://schemas.openxmlformats.org/officeDocument/2006/relationships/tags" Target="../tags/tag914.xml"/><Relationship Id="rId38" Type="http://schemas.openxmlformats.org/officeDocument/2006/relationships/tags" Target="../tags/tag919.xml"/><Relationship Id="rId46" Type="http://schemas.openxmlformats.org/officeDocument/2006/relationships/tags" Target="../tags/tag927.xml"/><Relationship Id="rId20" Type="http://schemas.openxmlformats.org/officeDocument/2006/relationships/tags" Target="../tags/tag901.xml"/><Relationship Id="rId41" Type="http://schemas.openxmlformats.org/officeDocument/2006/relationships/tags" Target="../tags/tag922.xml"/><Relationship Id="rId54" Type="http://schemas.openxmlformats.org/officeDocument/2006/relationships/image" Target="../media/image30.emf"/><Relationship Id="rId1" Type="http://schemas.openxmlformats.org/officeDocument/2006/relationships/tags" Target="../tags/tag882.xml"/><Relationship Id="rId6" Type="http://schemas.openxmlformats.org/officeDocument/2006/relationships/tags" Target="../tags/tag887.xml"/><Relationship Id="rId15" Type="http://schemas.openxmlformats.org/officeDocument/2006/relationships/tags" Target="../tags/tag896.xml"/><Relationship Id="rId23" Type="http://schemas.openxmlformats.org/officeDocument/2006/relationships/tags" Target="../tags/tag904.xml"/><Relationship Id="rId28" Type="http://schemas.openxmlformats.org/officeDocument/2006/relationships/tags" Target="../tags/tag909.xml"/><Relationship Id="rId36" Type="http://schemas.openxmlformats.org/officeDocument/2006/relationships/tags" Target="../tags/tag917.xml"/><Relationship Id="rId49" Type="http://schemas.openxmlformats.org/officeDocument/2006/relationships/tags" Target="../tags/tag930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945.xml"/><Relationship Id="rId18" Type="http://schemas.openxmlformats.org/officeDocument/2006/relationships/tags" Target="../tags/tag950.xml"/><Relationship Id="rId26" Type="http://schemas.openxmlformats.org/officeDocument/2006/relationships/tags" Target="../tags/tag958.xml"/><Relationship Id="rId39" Type="http://schemas.openxmlformats.org/officeDocument/2006/relationships/tags" Target="../tags/tag971.xml"/><Relationship Id="rId21" Type="http://schemas.openxmlformats.org/officeDocument/2006/relationships/tags" Target="../tags/tag953.xml"/><Relationship Id="rId34" Type="http://schemas.openxmlformats.org/officeDocument/2006/relationships/tags" Target="../tags/tag966.xml"/><Relationship Id="rId42" Type="http://schemas.openxmlformats.org/officeDocument/2006/relationships/tags" Target="../tags/tag974.xml"/><Relationship Id="rId47" Type="http://schemas.openxmlformats.org/officeDocument/2006/relationships/tags" Target="../tags/tag979.xml"/><Relationship Id="rId50" Type="http://schemas.openxmlformats.org/officeDocument/2006/relationships/tags" Target="../tags/tag982.xml"/><Relationship Id="rId55" Type="http://schemas.openxmlformats.org/officeDocument/2006/relationships/chart" Target="../charts/chart11.xml"/><Relationship Id="rId7" Type="http://schemas.openxmlformats.org/officeDocument/2006/relationships/tags" Target="../tags/tag939.xml"/><Relationship Id="rId2" Type="http://schemas.openxmlformats.org/officeDocument/2006/relationships/tags" Target="../tags/tag934.xml"/><Relationship Id="rId16" Type="http://schemas.openxmlformats.org/officeDocument/2006/relationships/tags" Target="../tags/tag948.xml"/><Relationship Id="rId29" Type="http://schemas.openxmlformats.org/officeDocument/2006/relationships/tags" Target="../tags/tag961.xml"/><Relationship Id="rId11" Type="http://schemas.openxmlformats.org/officeDocument/2006/relationships/tags" Target="../tags/tag943.xml"/><Relationship Id="rId24" Type="http://schemas.openxmlformats.org/officeDocument/2006/relationships/tags" Target="../tags/tag956.xml"/><Relationship Id="rId32" Type="http://schemas.openxmlformats.org/officeDocument/2006/relationships/tags" Target="../tags/tag964.xml"/><Relationship Id="rId37" Type="http://schemas.openxmlformats.org/officeDocument/2006/relationships/tags" Target="../tags/tag969.xml"/><Relationship Id="rId40" Type="http://schemas.openxmlformats.org/officeDocument/2006/relationships/tags" Target="../tags/tag972.xml"/><Relationship Id="rId45" Type="http://schemas.openxmlformats.org/officeDocument/2006/relationships/tags" Target="../tags/tag977.xml"/><Relationship Id="rId53" Type="http://schemas.openxmlformats.org/officeDocument/2006/relationships/oleObject" Target="../embeddings/oleObject285.bin"/><Relationship Id="rId5" Type="http://schemas.openxmlformats.org/officeDocument/2006/relationships/tags" Target="../tags/tag937.xml"/><Relationship Id="rId10" Type="http://schemas.openxmlformats.org/officeDocument/2006/relationships/tags" Target="../tags/tag942.xml"/><Relationship Id="rId19" Type="http://schemas.openxmlformats.org/officeDocument/2006/relationships/tags" Target="../tags/tag951.xml"/><Relationship Id="rId31" Type="http://schemas.openxmlformats.org/officeDocument/2006/relationships/tags" Target="../tags/tag963.xml"/><Relationship Id="rId44" Type="http://schemas.openxmlformats.org/officeDocument/2006/relationships/tags" Target="../tags/tag976.xml"/><Relationship Id="rId52" Type="http://schemas.openxmlformats.org/officeDocument/2006/relationships/slideLayout" Target="../slideLayouts/slideLayout47.xml"/><Relationship Id="rId4" Type="http://schemas.openxmlformats.org/officeDocument/2006/relationships/tags" Target="../tags/tag936.xml"/><Relationship Id="rId9" Type="http://schemas.openxmlformats.org/officeDocument/2006/relationships/tags" Target="../tags/tag941.xml"/><Relationship Id="rId14" Type="http://schemas.openxmlformats.org/officeDocument/2006/relationships/tags" Target="../tags/tag946.xml"/><Relationship Id="rId22" Type="http://schemas.openxmlformats.org/officeDocument/2006/relationships/tags" Target="../tags/tag954.xml"/><Relationship Id="rId27" Type="http://schemas.openxmlformats.org/officeDocument/2006/relationships/tags" Target="../tags/tag959.xml"/><Relationship Id="rId30" Type="http://schemas.openxmlformats.org/officeDocument/2006/relationships/tags" Target="../tags/tag962.xml"/><Relationship Id="rId35" Type="http://schemas.openxmlformats.org/officeDocument/2006/relationships/tags" Target="../tags/tag967.xml"/><Relationship Id="rId43" Type="http://schemas.openxmlformats.org/officeDocument/2006/relationships/tags" Target="../tags/tag975.xml"/><Relationship Id="rId48" Type="http://schemas.openxmlformats.org/officeDocument/2006/relationships/tags" Target="../tags/tag980.xml"/><Relationship Id="rId8" Type="http://schemas.openxmlformats.org/officeDocument/2006/relationships/tags" Target="../tags/tag940.xml"/><Relationship Id="rId51" Type="http://schemas.openxmlformats.org/officeDocument/2006/relationships/tags" Target="../tags/tag983.xml"/><Relationship Id="rId3" Type="http://schemas.openxmlformats.org/officeDocument/2006/relationships/tags" Target="../tags/tag935.xml"/><Relationship Id="rId12" Type="http://schemas.openxmlformats.org/officeDocument/2006/relationships/tags" Target="../tags/tag944.xml"/><Relationship Id="rId17" Type="http://schemas.openxmlformats.org/officeDocument/2006/relationships/tags" Target="../tags/tag949.xml"/><Relationship Id="rId25" Type="http://schemas.openxmlformats.org/officeDocument/2006/relationships/tags" Target="../tags/tag957.xml"/><Relationship Id="rId33" Type="http://schemas.openxmlformats.org/officeDocument/2006/relationships/tags" Target="../tags/tag965.xml"/><Relationship Id="rId38" Type="http://schemas.openxmlformats.org/officeDocument/2006/relationships/tags" Target="../tags/tag970.xml"/><Relationship Id="rId46" Type="http://schemas.openxmlformats.org/officeDocument/2006/relationships/tags" Target="../tags/tag978.xml"/><Relationship Id="rId20" Type="http://schemas.openxmlformats.org/officeDocument/2006/relationships/tags" Target="../tags/tag952.xml"/><Relationship Id="rId41" Type="http://schemas.openxmlformats.org/officeDocument/2006/relationships/tags" Target="../tags/tag973.xml"/><Relationship Id="rId54" Type="http://schemas.openxmlformats.org/officeDocument/2006/relationships/image" Target="../media/image30.emf"/><Relationship Id="rId1" Type="http://schemas.openxmlformats.org/officeDocument/2006/relationships/tags" Target="../tags/tag933.xml"/><Relationship Id="rId6" Type="http://schemas.openxmlformats.org/officeDocument/2006/relationships/tags" Target="../tags/tag938.xml"/><Relationship Id="rId15" Type="http://schemas.openxmlformats.org/officeDocument/2006/relationships/tags" Target="../tags/tag947.xml"/><Relationship Id="rId23" Type="http://schemas.openxmlformats.org/officeDocument/2006/relationships/tags" Target="../tags/tag955.xml"/><Relationship Id="rId28" Type="http://schemas.openxmlformats.org/officeDocument/2006/relationships/tags" Target="../tags/tag960.xml"/><Relationship Id="rId36" Type="http://schemas.openxmlformats.org/officeDocument/2006/relationships/tags" Target="../tags/tag968.xml"/><Relationship Id="rId49" Type="http://schemas.openxmlformats.org/officeDocument/2006/relationships/tags" Target="../tags/tag981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996.xml"/><Relationship Id="rId18" Type="http://schemas.openxmlformats.org/officeDocument/2006/relationships/tags" Target="../tags/tag1001.xml"/><Relationship Id="rId26" Type="http://schemas.openxmlformats.org/officeDocument/2006/relationships/tags" Target="../tags/tag1009.xml"/><Relationship Id="rId39" Type="http://schemas.openxmlformats.org/officeDocument/2006/relationships/tags" Target="../tags/tag1022.xml"/><Relationship Id="rId21" Type="http://schemas.openxmlformats.org/officeDocument/2006/relationships/tags" Target="../tags/tag1004.xml"/><Relationship Id="rId34" Type="http://schemas.openxmlformats.org/officeDocument/2006/relationships/tags" Target="../tags/tag1017.xml"/><Relationship Id="rId42" Type="http://schemas.openxmlformats.org/officeDocument/2006/relationships/tags" Target="../tags/tag1025.xml"/><Relationship Id="rId47" Type="http://schemas.openxmlformats.org/officeDocument/2006/relationships/chart" Target="../charts/chart12.xml"/><Relationship Id="rId7" Type="http://schemas.openxmlformats.org/officeDocument/2006/relationships/tags" Target="../tags/tag990.xml"/><Relationship Id="rId2" Type="http://schemas.openxmlformats.org/officeDocument/2006/relationships/tags" Target="../tags/tag985.xml"/><Relationship Id="rId16" Type="http://schemas.openxmlformats.org/officeDocument/2006/relationships/tags" Target="../tags/tag999.xml"/><Relationship Id="rId29" Type="http://schemas.openxmlformats.org/officeDocument/2006/relationships/tags" Target="../tags/tag1012.xml"/><Relationship Id="rId1" Type="http://schemas.openxmlformats.org/officeDocument/2006/relationships/tags" Target="../tags/tag984.xml"/><Relationship Id="rId6" Type="http://schemas.openxmlformats.org/officeDocument/2006/relationships/tags" Target="../tags/tag989.xml"/><Relationship Id="rId11" Type="http://schemas.openxmlformats.org/officeDocument/2006/relationships/tags" Target="../tags/tag994.xml"/><Relationship Id="rId24" Type="http://schemas.openxmlformats.org/officeDocument/2006/relationships/tags" Target="../tags/tag1007.xml"/><Relationship Id="rId32" Type="http://schemas.openxmlformats.org/officeDocument/2006/relationships/tags" Target="../tags/tag1015.xml"/><Relationship Id="rId37" Type="http://schemas.openxmlformats.org/officeDocument/2006/relationships/tags" Target="../tags/tag1020.xml"/><Relationship Id="rId40" Type="http://schemas.openxmlformats.org/officeDocument/2006/relationships/tags" Target="../tags/tag1023.xml"/><Relationship Id="rId45" Type="http://schemas.openxmlformats.org/officeDocument/2006/relationships/oleObject" Target="../embeddings/oleObject286.bin"/><Relationship Id="rId5" Type="http://schemas.openxmlformats.org/officeDocument/2006/relationships/tags" Target="../tags/tag988.xml"/><Relationship Id="rId15" Type="http://schemas.openxmlformats.org/officeDocument/2006/relationships/tags" Target="../tags/tag998.xml"/><Relationship Id="rId23" Type="http://schemas.openxmlformats.org/officeDocument/2006/relationships/tags" Target="../tags/tag1006.xml"/><Relationship Id="rId28" Type="http://schemas.openxmlformats.org/officeDocument/2006/relationships/tags" Target="../tags/tag1011.xml"/><Relationship Id="rId36" Type="http://schemas.openxmlformats.org/officeDocument/2006/relationships/tags" Target="../tags/tag1019.xml"/><Relationship Id="rId10" Type="http://schemas.openxmlformats.org/officeDocument/2006/relationships/tags" Target="../tags/tag993.xml"/><Relationship Id="rId19" Type="http://schemas.openxmlformats.org/officeDocument/2006/relationships/tags" Target="../tags/tag1002.xml"/><Relationship Id="rId31" Type="http://schemas.openxmlformats.org/officeDocument/2006/relationships/tags" Target="../tags/tag1014.xml"/><Relationship Id="rId44" Type="http://schemas.openxmlformats.org/officeDocument/2006/relationships/slideLayout" Target="../slideLayouts/slideLayout47.xml"/><Relationship Id="rId4" Type="http://schemas.openxmlformats.org/officeDocument/2006/relationships/tags" Target="../tags/tag987.xml"/><Relationship Id="rId9" Type="http://schemas.openxmlformats.org/officeDocument/2006/relationships/tags" Target="../tags/tag992.xml"/><Relationship Id="rId14" Type="http://schemas.openxmlformats.org/officeDocument/2006/relationships/tags" Target="../tags/tag997.xml"/><Relationship Id="rId22" Type="http://schemas.openxmlformats.org/officeDocument/2006/relationships/tags" Target="../tags/tag1005.xml"/><Relationship Id="rId27" Type="http://schemas.openxmlformats.org/officeDocument/2006/relationships/tags" Target="../tags/tag1010.xml"/><Relationship Id="rId30" Type="http://schemas.openxmlformats.org/officeDocument/2006/relationships/tags" Target="../tags/tag1013.xml"/><Relationship Id="rId35" Type="http://schemas.openxmlformats.org/officeDocument/2006/relationships/tags" Target="../tags/tag1018.xml"/><Relationship Id="rId43" Type="http://schemas.openxmlformats.org/officeDocument/2006/relationships/tags" Target="../tags/tag1026.xml"/><Relationship Id="rId8" Type="http://schemas.openxmlformats.org/officeDocument/2006/relationships/tags" Target="../tags/tag991.xml"/><Relationship Id="rId3" Type="http://schemas.openxmlformats.org/officeDocument/2006/relationships/tags" Target="../tags/tag986.xml"/><Relationship Id="rId12" Type="http://schemas.openxmlformats.org/officeDocument/2006/relationships/tags" Target="../tags/tag995.xml"/><Relationship Id="rId17" Type="http://schemas.openxmlformats.org/officeDocument/2006/relationships/tags" Target="../tags/tag1000.xml"/><Relationship Id="rId25" Type="http://schemas.openxmlformats.org/officeDocument/2006/relationships/tags" Target="../tags/tag1008.xml"/><Relationship Id="rId33" Type="http://schemas.openxmlformats.org/officeDocument/2006/relationships/tags" Target="../tags/tag1016.xml"/><Relationship Id="rId38" Type="http://schemas.openxmlformats.org/officeDocument/2006/relationships/tags" Target="../tags/tag1021.xml"/><Relationship Id="rId46" Type="http://schemas.openxmlformats.org/officeDocument/2006/relationships/image" Target="../media/image30.emf"/><Relationship Id="rId20" Type="http://schemas.openxmlformats.org/officeDocument/2006/relationships/tags" Target="../tags/tag1003.xml"/><Relationship Id="rId41" Type="http://schemas.openxmlformats.org/officeDocument/2006/relationships/tags" Target="../tags/tag10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41BBF53-6821-87F8-C638-20E9CA2440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005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2" imgW="473" imgH="476" progId="TCLayout.ActiveDocument.1">
                  <p:embed/>
                </p:oleObj>
              </mc:Choice>
              <mc:Fallback>
                <p:oleObj name="think-cell 幻灯片" r:id="rId52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1BBF53-6821-87F8-C638-20E9CA244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3260AD85-A093-F255-29AF-98CEE1B52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生意增长的最大贡献仍然来自</a:t>
            </a:r>
            <a:r>
              <a:rPr lang="en-US" altLang="zh-CN" sz="2000" dirty="0"/>
              <a:t>CV</a:t>
            </a:r>
            <a:r>
              <a:rPr lang="zh-CN" altLang="en-US" sz="2000" dirty="0"/>
              <a:t>，</a:t>
            </a:r>
            <a:r>
              <a:rPr lang="en-US" altLang="zh-CN" sz="2000" dirty="0"/>
              <a:t>CV YTD</a:t>
            </a:r>
            <a:r>
              <a:rPr lang="zh-CN" altLang="en-US" sz="2000" dirty="0"/>
              <a:t>增长</a:t>
            </a:r>
            <a:r>
              <a:rPr lang="en-US" altLang="zh-CN" sz="2000" dirty="0"/>
              <a:t>5.4%</a:t>
            </a:r>
            <a:r>
              <a:rPr lang="zh-CN" altLang="en-US" sz="2000" dirty="0"/>
              <a:t>（立</a:t>
            </a:r>
            <a:r>
              <a:rPr lang="en-US" altLang="zh-CN" sz="2000" dirty="0"/>
              <a:t>5.9%</a:t>
            </a:r>
            <a:r>
              <a:rPr lang="zh-CN" altLang="en-US" sz="2000" dirty="0"/>
              <a:t>、络</a:t>
            </a:r>
            <a:r>
              <a:rPr lang="en-US" altLang="zh-CN" sz="2000" dirty="0"/>
              <a:t>4.3%</a:t>
            </a:r>
            <a:r>
              <a:rPr lang="zh-CN" altLang="en-US" sz="2000" dirty="0"/>
              <a:t>），拉动整体生意</a:t>
            </a:r>
            <a:r>
              <a:rPr lang="en-US" altLang="zh-CN" sz="2000" dirty="0"/>
              <a:t>3.7%</a:t>
            </a:r>
            <a:r>
              <a:rPr lang="zh-CN" altLang="en-US" sz="2000" dirty="0"/>
              <a:t>增长</a:t>
            </a:r>
            <a:br>
              <a:rPr lang="en-US" altLang="zh-CN" sz="2000" dirty="0"/>
            </a:br>
            <a:r>
              <a:rPr lang="en-US" altLang="zh-CN" sz="2000" dirty="0"/>
              <a:t>Non-VBP</a:t>
            </a:r>
            <a:r>
              <a:rPr lang="zh-CN" altLang="en-US" sz="2000" dirty="0"/>
              <a:t>产品继续保持</a:t>
            </a:r>
            <a:r>
              <a:rPr lang="en-US" altLang="zh-CN" sz="2000" dirty="0"/>
              <a:t>20%</a:t>
            </a:r>
            <a:r>
              <a:rPr lang="zh-CN" altLang="en-US" sz="2000" dirty="0"/>
              <a:t>以上增长，拉动整体生意</a:t>
            </a:r>
            <a:r>
              <a:rPr lang="en-US" altLang="zh-CN" sz="2000" dirty="0"/>
              <a:t>1.9%</a:t>
            </a:r>
            <a:r>
              <a:rPr lang="zh-CN" altLang="en-US" sz="2000" dirty="0"/>
              <a:t>增长</a:t>
            </a:r>
            <a:br>
              <a:rPr lang="en-US" altLang="zh-CN" sz="2000" dirty="0"/>
            </a:br>
            <a:r>
              <a:rPr lang="en-US" altLang="zh-CN" sz="2000" dirty="0"/>
              <a:t>CV</a:t>
            </a:r>
            <a:r>
              <a:rPr lang="zh-CN" altLang="en-US" sz="2000" dirty="0"/>
              <a:t>和</a:t>
            </a:r>
            <a:r>
              <a:rPr lang="en-US" altLang="zh-CN" sz="2000" dirty="0"/>
              <a:t>Non-VBP</a:t>
            </a:r>
            <a:r>
              <a:rPr lang="zh-CN" altLang="en-US" sz="2000" dirty="0"/>
              <a:t>产品增长贡献较</a:t>
            </a:r>
            <a:r>
              <a:rPr lang="en-US" altLang="zh-CN" sz="2000" dirty="0"/>
              <a:t>9</a:t>
            </a:r>
            <a:r>
              <a:rPr lang="zh-CN" altLang="en-US" sz="2000" dirty="0"/>
              <a:t>月</a:t>
            </a:r>
            <a:r>
              <a:rPr lang="en-US" altLang="zh-CN" sz="2000" dirty="0"/>
              <a:t>YTD</a:t>
            </a:r>
            <a:r>
              <a:rPr lang="zh-CN" altLang="en-US" sz="2000" dirty="0"/>
              <a:t>进一步扩大</a:t>
            </a:r>
            <a:endParaRPr lang="en-US" sz="2000" dirty="0"/>
          </a:p>
        </p:txBody>
      </p: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683830DE-EACC-FB5A-4393-56B7300839B6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8824913" y="2254250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682E05BD-C0DD-0BB1-BAE5-4BF06AC1BCCD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092200" y="420052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FBC43A04-1111-A5DD-160E-982FB399D77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795463" y="3074988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E31E111A-8741-939C-9453-657B7F8EB850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497138" y="2706688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C3A9570C-E34E-5562-413D-1029E9DBFD69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200400" y="284797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C965C546-ABFE-7774-C63F-3FF1E3FD332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903663" y="2900363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5F845711-8F8B-586E-ED39-0DCF88A6BA61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4606925" y="284162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FD04714B-84BF-846B-016B-902763B19A8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5310188" y="2811463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6FF4CE60-27EE-6F7D-7AAE-BD745A17539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6013450" y="277812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5CE318FF-429B-B32E-87E2-DEC4B6BA389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6715125" y="275272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18314241-E1F1-0AE7-C24E-CCDEDE6BE0A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418388" y="2697163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7F4EE3E8-EE87-F538-289C-5E8D768E001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8121650" y="2406650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6CE8E4A5-3FA5-59E4-D363-B3C8C48B0933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9528175" y="1943100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E3F2FA70-5DF5-58AC-9F3B-CC113ED715D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10229850" y="185737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F99CFA1A-CB5F-F34F-EEEA-0C582B01987D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10933113" y="1957388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7" name="Chart 3">
            <a:extLst>
              <a:ext uri="{FF2B5EF4-FFF2-40B4-BE49-F238E27FC236}">
                <a16:creationId xmlns:a16="http://schemas.microsoft.com/office/drawing/2014/main" id="{585745C6-5FD4-9DA4-0417-B13F19AA3AD8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38165128"/>
              </p:ext>
            </p:extLst>
          </p:nvPr>
        </p:nvGraphicFramePr>
        <p:xfrm>
          <a:off x="461963" y="1774825"/>
          <a:ext cx="11412537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BDE7D-080B-328D-F0DC-DCB7C0AD1BB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456363" y="2665413"/>
            <a:ext cx="128588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9A70210-776E-46DF-91B7-9EA0063F2D48}" type="datetime'''''''''''''''8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94088D1-A9F9-204F-7F99-5BBAE6ADBA2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284913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4BF99E-3FB2-48B6-BCA7-1E06D053AE5B}" type="datetime'''''''''''''万''''''''''艾可'''''''''''''''''''">
              <a:rPr lang="zh-CN" altLang="en-US" smtClean="0">
                <a:latin typeface="+mn-lt"/>
                <a:cs typeface="+mn-cs"/>
              </a:rPr>
              <a:pPr/>
              <a:t>万艾可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88ECE33-AFE1-3699-2522-E2FBEC1E0A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15175" y="2624138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67F5CB-1BE7-489F-8462-4FF08E01B4CA}" type="datetime'''''''''''''''1''''''''''''''''''''8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AE46AC2-2296-FB9E-2A80-FBC2A14D05E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818438" y="245110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296C75-02CB-46C9-91AC-43111CFD5C78}" type="datetime'''''9''''''''''''''''''''''''''''''''''''2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92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ED4E39C-6809-37EB-6C58-B9900263FD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689850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CFEB002-3415-40F7-8ACA-218882EEAE87}" type="datetime'''''''''''可''''''多华'''''''''''''''''''''''''''''">
              <a:rPr lang="zh-CN" altLang="en-US" smtClean="0">
                <a:latin typeface="+mn-lt"/>
                <a:cs typeface="+mn-cs"/>
              </a:rPr>
              <a:pPr/>
              <a:t>可多华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2E9B96A2-A425-18B3-1E20-7BEC4A1AF4C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521700" y="2230438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A85A737-25A4-43ED-B6E3-D0A174DC6586}" type="datetime'''4''''''''''''''''''''8''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CA30A7E-AADF-1E96-E9E9-6A99419D308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393113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0C243A3-6C32-43A6-AC8F-8592D54502F0}" type="datetime'''''''爱''''''''''''宁''''''''''''''''''达'''">
              <a:rPr lang="zh-CN" altLang="en-US" smtClean="0">
                <a:latin typeface="+mn-lt"/>
                <a:cs typeface="+mn-cs"/>
              </a:rPr>
              <a:pPr/>
              <a:t>爱宁达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669BA855-E23A-5BB8-5D43-41D3641770A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224963" y="19986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9BB1DE1-2A45-4E3D-8DC0-8E7CC8DE67E6}" type="datetime'''''''''9''''''''''''''''''9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9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D5C54A0-1704-CBDF-39BB-89DA96DB902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768600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0BC4394-2513-4A24-B5B5-C0DF3074F42A}" type="datetime'''''''''''''西''''''''''''''''''''''''''''乐''''葆'''''''''''''''">
              <a:rPr lang="zh-CN" altLang="en-US" smtClean="0">
                <a:latin typeface="+mn-lt"/>
                <a:cs typeface="+mn-cs"/>
              </a:rPr>
              <a:pPr/>
              <a:t>西乐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86AD5039-7B40-87A7-2C4C-C38E98A57D8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928225" y="1800225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9792806-1627-44FD-B299-DBA2072B78B1}" type="datetime'''''''''''''''''''''''''''''2''''''''''''''''''7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7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7BC8CE3-355B-2AAF-7DD8-C2A313E4B84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799638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4A6750-96E3-4CCF-AC29-0802E8D52494}" type="datetime'''''''''''''''''''''''迪''''''''敏''''''''思'''''''''''">
              <a:rPr lang="zh-CN" altLang="en-US" smtClean="0">
                <a:latin typeface="+mn-lt"/>
                <a:cs typeface="+mn-cs"/>
              </a:rPr>
              <a:pPr/>
              <a:t>迪敏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A13E476B-F12C-EE1E-0ADC-4EC55FD6F5C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29900" y="1806575"/>
            <a:ext cx="212725" cy="201613"/>
          </a:xfrm>
          <a:prstGeom prst="rect">
            <a:avLst/>
          </a:prstGeom>
          <a:solidFill>
            <a:srgbClr val="C4130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6DB57F8-70F3-4A7F-BFE6-5B4F14C8084F}" type="datetime'''''''''''''''''''3''''''''''''''''''2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2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34348B-7DF6-B39F-E353-4627F274F0A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577513" y="4765675"/>
            <a:ext cx="3175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9B82EEA-A04C-4DD4-9DAC-944A9D678D8D}" type="datetime'''''''''''''''''其''''''''他'''''''''''''''''''''''''''">
              <a:rPr lang="zh-CN" altLang="en-US" smtClean="0">
                <a:latin typeface="+mn-lt"/>
                <a:cs typeface="+mn-cs"/>
              </a:rPr>
              <a:pPr/>
              <a:t>其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E1D8E54-85B5-95FA-B7A7-FC3DA9B4E94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1112500" y="47656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40F71F-DD4A-4ECB-82CC-644FE776C99E}" type="datetime'''''''''''2''''''''''''''''5''''''''''10''YT''''''D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BB315B8-6FC5-256F-F590-7266A31874A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096375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8845FA-C583-46D8-88AF-70A7C9B3C22B}" type="datetime'利加''隆'''''''''''''''">
              <a:rPr lang="zh-CN" altLang="en-US" smtClean="0">
                <a:latin typeface="+mn-lt"/>
                <a:cs typeface="+mn-cs"/>
              </a:rPr>
              <a:pPr/>
              <a:t>利加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D01AAF-6D8E-7132-9D26-C190B28AD55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68325" y="47656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DD4D241-5E73-4B51-A8B2-BCAC8EBC2434}" type="datetime'''''''''''''2''''''4''''''''''''1''''0Y''TD''''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5F51C474-FC4A-CB2B-81A0-2361479586A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450975" y="353695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F7ADB8F-5FFE-463A-B24D-ABD8FDB4AB76}" type="datetime'''''''''''''''''3''''''5''''''''''''''''''''''7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57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8278491-5B37-4D80-9C24-C0EF40F19F2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363663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187F97-2C30-406F-818A-D1182F9B3F73}" type="datetime'''''''''''''''''''''''''''''''''''''''''''立''普''妥'''">
              <a:rPr lang="zh-CN" altLang="en-US" smtClean="0">
                <a:latin typeface="+mn-lt"/>
                <a:cs typeface="+mn-cs"/>
              </a:rPr>
              <a:pPr/>
              <a:t>立普妥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EAEC9EA8-FFDC-EFC9-24CB-BBCCF5654D4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158999" y="2790825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B96F7BE-EEED-4A7B-A063-7C052EAB24FC}" type="datetime'1''''''1''''''''''''''''''''''''''''''7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7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CD64E76-2DC5-A0B5-6283-F0A83F0DDF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066925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FD8FA7-031C-47DC-B511-FE25CA2D10CB}" type="datetime'络''活''''''''''喜'''''''''''''''''''''''''">
              <a:rPr lang="zh-CN" altLang="en-US" smtClean="0">
                <a:latin typeface="+mn-lt"/>
                <a:cs typeface="+mn-cs"/>
              </a:rPr>
              <a:pPr/>
              <a:t>络活喜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D2DC0E44-A3A9-AC35-D89B-E6C4CEC8C99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897188" y="2676525"/>
            <a:ext cx="212725" cy="201613"/>
          </a:xfrm>
          <a:prstGeom prst="rect">
            <a:avLst/>
          </a:prstGeom>
          <a:solidFill>
            <a:srgbClr val="C4130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B7F119-8D3A-468F-BA9D-EC2B4102C2B6}" type="datetime'''''''''''''''''''''''4''''''''''''''''''''''''''''''5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1E42E93E-736F-9049-8290-B8F5BE4AD14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600450" y="2773363"/>
            <a:ext cx="212725" cy="201613"/>
          </a:xfrm>
          <a:prstGeom prst="rect">
            <a:avLst/>
          </a:prstGeom>
          <a:solidFill>
            <a:srgbClr val="C4130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FC1376-2520-421D-83DC-22C87F73CE22}" type="datetime'''''''''''''''1''''''''''6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6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02F7274-5954-7104-7ED3-0307B1A25AC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471863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917D8-8BAA-4A70-A398-356D4EB1F77B}" type="datetime'''''''''''''''''''''''乐''''''''''''''''''''''瑞''''卡'">
              <a:rPr lang="zh-CN" altLang="en-US" smtClean="0">
                <a:latin typeface="+mn-lt"/>
                <a:cs typeface="+mn-cs"/>
              </a:rPr>
              <a:pPr/>
              <a:t>乐瑞卡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7DC94E67-346E-31AC-62D8-6F0C7314FA3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303713" y="2770188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FDC5592-B1C4-4107-A9E6-D9DFC232E772}" type="datetime'''''''''''''1''''''''''''''''''''''8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CD878F8-3CB4-29E6-B884-A9F7A03FC6B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175125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2CE598-FD6B-41C2-8A60-42D5559C4FF6}" type="datetime'''''''''''''''左''''''''''''洛''''''复'''">
              <a:rPr lang="zh-CN" altLang="en-US" smtClean="0">
                <a:latin typeface="+mn-lt"/>
                <a:cs typeface="+mn-cs"/>
              </a:rPr>
              <a:pPr/>
              <a:t>左洛复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DFF3E04-646E-9876-B57D-D70DC4DC2AC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910388" y="4765675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EDC292-3787-4659-ACCC-3FD4A2185209}" type="datetime'''''''他''''''''达''''拉''''''''''''''''''''''''非'">
              <a:rPr lang="zh-CN" altLang="en-US" smtClean="0">
                <a:latin typeface="+mn-lt"/>
                <a:cs typeface="+mn-cs"/>
              </a:rPr>
              <a:pPr/>
              <a:t>他达拉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54C4289-2782-9191-0F3B-66F6A5E1E88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006975" y="2725738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075F557-F61F-47DB-91C3-8718E2767971}" type="datetime'''1''''''''''''''''''''''0''''''''''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0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5C416CB-5F7E-F1E2-F920-DD765E842F9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878388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47934D3-87A0-4B22-96C5-9004FB9E7357}" type="datetime'''''''''''怡''''''''诺''''思'''">
              <a:rPr lang="zh-CN" altLang="en-US" smtClean="0">
                <a:latin typeface="+mn-lt"/>
                <a:cs typeface="+mn-cs"/>
              </a:rPr>
              <a:pPr/>
              <a:t>怡诺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810DE28-8088-3B27-7541-4204BCAB17F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716588" y="2693988"/>
            <a:ext cx="201613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474282-F90E-49FE-8604-9FCF88AC4657}" type="datetime'''''''''''''''''''''''''''''''''1''''''''''''1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3" name="Text Placeholder 3">
            <a:extLst>
              <a:ext uri="{FF2B5EF4-FFF2-40B4-BE49-F238E27FC236}">
                <a16:creationId xmlns:a16="http://schemas.microsoft.com/office/drawing/2014/main" id="{483789DC-A167-CA55-00A7-A61DA216B3EC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41350" y="397351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9C38F3-F98D-41A4-A32B-CFDE0744E760}" type="datetime'''''''1''''''''''''''''''''''''''''''''2,''''''66''''4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98DF5DE4-1650-E9F4-9C78-C8693368214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1185525" y="1730375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F694AD-8781-440E-A652-0BB2B4054FED}" type="datetime'''''1''''''3,''''''''''''''''''''''3''''''''75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54E1A72-3970-D613-1ABE-7F609E8ACC4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581650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3058CC2-E88B-48AB-B3BD-A03F70E1EBD7}" type="datetime'''''''''维''固''''''''''''''''''力'''">
              <a:rPr lang="zh-CN" altLang="en-US" smtClean="0">
                <a:latin typeface="+mn-lt"/>
                <a:cs typeface="+mn-cs"/>
              </a:rPr>
              <a:pPr/>
              <a:t>维固力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50" name="表格 149">
            <a:extLst>
              <a:ext uri="{FF2B5EF4-FFF2-40B4-BE49-F238E27FC236}">
                <a16:creationId xmlns:a16="http://schemas.microsoft.com/office/drawing/2014/main" id="{536AA08A-F01E-75E3-80BE-231F14381C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8151001"/>
              </p:ext>
            </p:extLst>
          </p:nvPr>
        </p:nvGraphicFramePr>
        <p:xfrm>
          <a:off x="399316" y="5081588"/>
          <a:ext cx="10707568" cy="860424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2868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5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7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0.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2868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拉动增长率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2868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量贡献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</a:tbl>
          </a:graphicData>
        </a:graphic>
      </p:graphicFrame>
      <p:sp>
        <p:nvSpPr>
          <p:cNvPr id="156" name="矩形 155">
            <a:extLst>
              <a:ext uri="{FF2B5EF4-FFF2-40B4-BE49-F238E27FC236}">
                <a16:creationId xmlns:a16="http://schemas.microsoft.com/office/drawing/2014/main" id="{6A90D04E-AFF0-A530-4C42-7FE457531D14}"/>
              </a:ext>
            </a:extLst>
          </p:cNvPr>
          <p:cNvSpPr/>
          <p:nvPr/>
        </p:nvSpPr>
        <p:spPr>
          <a:xfrm>
            <a:off x="7937" y="1468041"/>
            <a:ext cx="3101976" cy="329406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chemeClr val="bg1"/>
                </a:solidFill>
              </a:rPr>
              <a:t>2025010YTD</a:t>
            </a:r>
            <a:r>
              <a:rPr lang="zh-CN" altLang="en-US" sz="1200" b="1" dirty="0">
                <a:solidFill>
                  <a:schemeClr val="bg1"/>
                </a:solidFill>
              </a:rPr>
              <a:t>渠道购进增长贡献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27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5B5CA95-ECCE-EB50-DD56-79CAD703FD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9549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9" imgW="473" imgH="476" progId="TCLayout.ActiveDocument.1">
                  <p:embed/>
                </p:oleObj>
              </mc:Choice>
              <mc:Fallback>
                <p:oleObj name="think-cell 幻灯片" r:id="rId79" imgW="473" imgH="47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B5CA95-ECCE-EB50-DD56-79CAD703F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36443FED-FD0D-DC17-31B8-E4DA4C086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b="1" dirty="0"/>
              <a:t>品类分布：</a:t>
            </a:r>
            <a:r>
              <a:rPr lang="en-US" altLang="zh-CN" sz="2000" dirty="0"/>
              <a:t>CV</a:t>
            </a:r>
            <a:r>
              <a:rPr lang="zh-CN" altLang="en-US" sz="2000" dirty="0"/>
              <a:t>占比和去年基本持平；</a:t>
            </a:r>
            <a:r>
              <a:rPr lang="en-US" altLang="zh-CN" sz="2000" dirty="0"/>
              <a:t>Non-VBP</a:t>
            </a:r>
            <a:r>
              <a:rPr lang="zh-CN" altLang="en-US" sz="2000" dirty="0"/>
              <a:t>生意占比提升，同时</a:t>
            </a:r>
            <a:r>
              <a:rPr lang="en-US" altLang="zh-CN" sz="2000" dirty="0"/>
              <a:t>Pain</a:t>
            </a:r>
            <a:r>
              <a:rPr lang="zh-CN" altLang="en-US" sz="2000" dirty="0"/>
              <a:t>产品生意占比显著下降</a:t>
            </a:r>
            <a:br>
              <a:rPr lang="en-US" altLang="zh-CN" sz="2000" dirty="0"/>
            </a:br>
            <a:r>
              <a:rPr lang="zh-CN" altLang="en-US" sz="2000" b="1" dirty="0"/>
              <a:t>渠道分布：</a:t>
            </a:r>
            <a:r>
              <a:rPr lang="zh-CN" altLang="en-US" sz="2000" dirty="0"/>
              <a:t>民营整体增长疲软，生意占比不断下降；公立二三级和电商生意占比均显著提升</a:t>
            </a:r>
            <a:endParaRPr lang="en-US" sz="2000" dirty="0"/>
          </a:p>
        </p:txBody>
      </p:sp>
      <p:graphicFrame>
        <p:nvGraphicFramePr>
          <p:cNvPr id="161" name="Chart 3">
            <a:extLst>
              <a:ext uri="{FF2B5EF4-FFF2-40B4-BE49-F238E27FC236}">
                <a16:creationId xmlns:a16="http://schemas.microsoft.com/office/drawing/2014/main" id="{A1F5031A-EB6E-73B3-C69E-617E2413D77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404610"/>
              </p:ext>
            </p:extLst>
          </p:nvPr>
        </p:nvGraphicFramePr>
        <p:xfrm>
          <a:off x="325438" y="2384425"/>
          <a:ext cx="2982912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cxnSp>
        <p:nvCxnSpPr>
          <p:cNvPr id="128" name="直接连接符 127">
            <a:extLst>
              <a:ext uri="{FF2B5EF4-FFF2-40B4-BE49-F238E27FC236}">
                <a16:creationId xmlns:a16="http://schemas.microsoft.com/office/drawing/2014/main" id="{1B5EAE37-2991-E288-66B2-751F51554891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V="1">
            <a:off x="1112838" y="2038350"/>
            <a:ext cx="0" cy="315913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直接连接符 128">
            <a:extLst>
              <a:ext uri="{FF2B5EF4-FFF2-40B4-BE49-F238E27FC236}">
                <a16:creationId xmlns:a16="http://schemas.microsoft.com/office/drawing/2014/main" id="{4840EEC2-27E6-7D90-3DCC-7F49E8B28189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112838" y="2038350"/>
            <a:ext cx="1408113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直接连接符 157">
            <a:extLst>
              <a:ext uri="{FF2B5EF4-FFF2-40B4-BE49-F238E27FC236}">
                <a16:creationId xmlns:a16="http://schemas.microsoft.com/office/drawing/2014/main" id="{D4F8FE18-0750-3353-068A-388205AC1C92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520950" y="2038350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743D03B1-5AC9-0E8D-5737-877D4598E3DC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1428750" y="2566988"/>
            <a:ext cx="95250" cy="666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1B122B5D-47CF-69CB-80F8-B316CD38B193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 flipV="1">
            <a:off x="1428750" y="2678113"/>
            <a:ext cx="95250" cy="9048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C4A47111-37E3-6353-7D5A-DE648D2F826E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H="1" flipV="1">
            <a:off x="1428750" y="2709863"/>
            <a:ext cx="95250" cy="16033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9B60F73E-5671-E2CD-3DC5-870648574E0C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 flipH="1" flipV="1">
            <a:off x="2836863" y="2479675"/>
            <a:ext cx="95250" cy="873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2A3B443B-D82A-90C4-3B8B-781298476BA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 flipV="1">
            <a:off x="2836863" y="2570163"/>
            <a:ext cx="95250" cy="19843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714E7D5-9892-6632-3199-747D40696A0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524000" y="246697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B0A8F14-CB38-4BEF-AE21-F7FCEA98F220}" type="datetime'''1''''''''''''.''''''''''''''1''''''%'''">
              <a:rPr lang="en-US" altLang="en-US" smtClean="0">
                <a:latin typeface="+mn-lt"/>
                <a:cs typeface="+mn-cs"/>
              </a:rPr>
              <a:pPr/>
              <a:t>1.1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1BF01B-877C-7019-2DB4-11835F8E22C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524000" y="2668588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EAA8B87-36C2-4C3E-94A3-175CE5E47426}" type="datetime'''''''''''2''''''''''.''''''''3''''''''''''''%'''''''''''''''">
              <a:rPr lang="en-US" altLang="en-US" smtClean="0">
                <a:latin typeface="+mn-lt"/>
                <a:cs typeface="+mn-cs"/>
              </a:rPr>
              <a:pPr/>
              <a:t>2.3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9579A60-33DA-EFDE-88A2-38B29FFD4E5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524000" y="2870200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D22A5A0-EDEB-48CD-ABFF-C42AAB458473}" type="datetime'''''''''0''''''''.0''%'''''''''">
              <a:rPr lang="en-US" altLang="en-US" smtClean="0">
                <a:latin typeface="+mn-lt"/>
                <a:cs typeface="+mn-cs"/>
              </a:rPr>
              <a:pPr/>
              <a:t>0.0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B7CCEC5-3C5A-ED80-902C-9A2438DCEE4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22313" y="2665413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57ACEA-5E78-476B-B791-3112CC7DCCC2}" type="datetime'''''4''''.''''''''1''%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0BCF451-911F-1D2A-4E63-00D8C1AF70E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14425" y="2774950"/>
            <a:ext cx="390525" cy="201613"/>
          </a:xfrm>
          <a:prstGeom prst="rect">
            <a:avLst/>
          </a:prstGeom>
          <a:solidFill>
            <a:srgbClr val="6464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360478C-0A60-492F-943C-185066F63197}" type="datetime'''''3''''''''''''''''''''''''''.''''''''''''''''''9''''''''%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2FE366-B49F-4806-DF1D-F061D881514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22313" y="2927350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78CD0CF-F333-4A8D-A0C8-FB2F41F98FD8}" type="datetime'''''''''''''''''''''''7.''''''''''''''''''''3%'''''''''''''">
              <a:rPr lang="en-US" altLang="en-US" smtClean="0">
                <a:latin typeface="+mn-lt"/>
                <a:cs typeface="+mn-cs"/>
              </a:rPr>
              <a:pPr/>
              <a:t>7.3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D2C4A28-CF5A-5CF4-4FF8-1F47C9F9F22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81063" y="3184525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88A2C9-0E6F-48B3-956F-759D5DBEA3F0}" type="datetime'''''''''''''''''''''''''1''1''.''''''''''''7''%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.7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BB7F63E-EAAF-87C5-3A15-A78E5476572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76300" y="42830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B3C81EE-F9B5-4913-B661-597E896F854E}" type="datetime'''''''''''''''''''6''9''.5''''''''''''''''''''''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9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CBC75D5-9947-393A-32A4-67A1443536E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85813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F14F7A8-0CDD-44B6-8BE1-ADF3AB5F0A50}" type="datetime'''''''''''''241''''''''''0''''''Y''''TD''''''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FCA0A87C-1C6B-BFA7-9D48-5A56757E48F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932113" y="246697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D62505-E2DA-4320-BE06-CA4838E9972B}" type="datetime'''''''''''''''''0''''''''''''''''''''.''9''''''%'''''''">
              <a:rPr lang="en-US" altLang="en-US" smtClean="0">
                <a:latin typeface="+mn-lt"/>
                <a:cs typeface="+mn-cs"/>
              </a:rPr>
              <a:pPr/>
              <a:t>0.9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82BEB0F-8F52-39A0-AFDE-DDC409B4B6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22538" y="2430463"/>
            <a:ext cx="390525" cy="201613"/>
          </a:xfrm>
          <a:prstGeom prst="rect">
            <a:avLst/>
          </a:prstGeom>
          <a:solidFill>
            <a:srgbClr val="005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959905-F5B3-4C6B-8013-84A36A84319C}" type="datetime'2''''''''''''''.''''''''''''6''''''%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B2A774E-0221-5AC7-2DA2-F02757E45FC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932113" y="2668588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7AFB261-BA59-43E9-9AAA-E9852E3BF70A}" type="datetime'''''''''''''''''''''0''''.''''''2''%'''''''''''''''''''">
              <a:rPr lang="en-US" altLang="en-US" smtClean="0">
                <a:latin typeface="+mn-lt"/>
                <a:cs typeface="+mn-cs"/>
              </a:rPr>
              <a:pPr/>
              <a:t>0.2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F725E83-64D2-51A8-3A35-7F2D3B61066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30425" y="2549525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1843F98-DB9C-4459-948D-44603287EDC6}" type="datetime'''5.''''''''''''''''''3''%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747B6B7-45AC-9105-EDB8-B7558EE2604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522538" y="2681288"/>
            <a:ext cx="390525" cy="201613"/>
          </a:xfrm>
          <a:prstGeom prst="rect">
            <a:avLst/>
          </a:prstGeom>
          <a:solidFill>
            <a:srgbClr val="6464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FB3CE8A-CBC8-4FE5-BB84-CC703137A267}" type="datetime'''''''''''''''3''.''''''''''''''''''9''%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1500145-8EBF-0567-0D08-B5C362C4430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130425" y="2830513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4746AF1-5672-47D4-AFBE-03BCE8ABC49E}" type="datetime'''''''6''''''''''.''5''''''%'''''''''''''''">
              <a:rPr lang="en-US" altLang="en-US" smtClean="0">
                <a:latin typeface="+mn-lt"/>
                <a:cs typeface="+mn-cs"/>
              </a:rPr>
              <a:pPr/>
              <a:t>6.5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2A12C4D-776E-B909-6C93-3AA55E2D80A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289175" y="3082925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928232-40C3-4CFC-A4D5-4AC68D67FE10}" type="datetime'''''''''''''''''''1''1.''''''''''''''''1''''%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5EF1C3A3-CAC3-70DF-B0E8-778CABBEC01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284413" y="42322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C6B581F-58D6-4518-B326-635C405B6DBA}" type="datetime'''6''''''9''''''''''''''''''''.''''''''''''''4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9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D9A3430-D7A5-1E2E-4F83-3678F5A5D5D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193925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E30EB4-64B1-4A4E-AA5D-433FED5F646B}" type="datetime'2''''5''''''''''''1''''''''''''0''''YTD''''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D6D42341-3911-A45E-6249-9A2DDC258DE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58838" y="23923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3903F4-E2E2-404C-9E67-2E6226793981}" type="datetime'''''''''''''12'''',''''''66''''''''''''''''''''''''''''''4'''">
              <a:rPr lang="en-US" altLang="en-US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92F588D-9EDE-A165-C962-04D121028ED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266950" y="2228850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594DB58-B4C5-482D-8D94-2332AB6D21EF}" type="datetime'''13,''''3''7''''''''''''5'''''''''">
              <a:rPr lang="en-US" altLang="en-US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55C3843E-B667-4CB0-0BAD-4C660B2C1D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508125" y="1895474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AC456B-A74C-41D3-8A61-2779CABCCB58}" type="datetime'''''''''''''''''''+''''''''5''''''''.''''''6''''''''''''''%'''">
              <a:rPr lang="en-US" altLang="en-US" b="1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graphicFrame>
        <p:nvGraphicFramePr>
          <p:cNvPr id="52" name="Chart 3">
            <a:extLst>
              <a:ext uri="{FF2B5EF4-FFF2-40B4-BE49-F238E27FC236}">
                <a16:creationId xmlns:a16="http://schemas.microsoft.com/office/drawing/2014/main" id="{5C8E763C-1DF5-FCF4-4B32-F80125C61BE3}"/>
              </a:ext>
            </a:extLst>
          </p:cNvPr>
          <p:cNvGraphicFramePr/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543154183"/>
              </p:ext>
            </p:extLst>
          </p:nvPr>
        </p:nvGraphicFramePr>
        <p:xfrm>
          <a:off x="6491288" y="2384425"/>
          <a:ext cx="29845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6BD47B67-A5D7-0163-BD79-5C6B9C3215AA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 flipV="1">
            <a:off x="7278688" y="2049463"/>
            <a:ext cx="0" cy="3048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C635AE8F-0039-D7EA-E856-75F94FA5F11E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7278688" y="2049463"/>
            <a:ext cx="14097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A643D541-8243-C309-788C-EA99A1F01D93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8688388" y="2049463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AE6845E2-EDBC-8D2A-F46F-A65037936D6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042150" y="287972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77606DF-F89B-4A90-9F8D-0CF280ED26B0}" type="datetime'''''2''''''''''''''''6''''''''''''''''''''''''''.''6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6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4" name="Text Placeholder 3">
            <a:extLst>
              <a:ext uri="{FF2B5EF4-FFF2-40B4-BE49-F238E27FC236}">
                <a16:creationId xmlns:a16="http://schemas.microsoft.com/office/drawing/2014/main" id="{C8FA23E7-1954-535F-167C-B22C7080094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042150" y="33861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DB1347-2475-4AD3-9925-95A61DC43DBB}" type="datetime'''''1''0''''''''''''''''''''''''''.''''''''9''''''%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0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771EEA91-D085-6321-84F5-87A71F520D9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042150" y="3803650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AFA987A-C27B-4C7B-8E59-9CEB2469838C}" type="datetime'2''''''''''''''''''''0''.''''''0''''''''''''''''''%'''''''''">
              <a:rPr lang="en-US" altLang="en-US" smtClean="0">
                <a:latin typeface="+mn-lt"/>
                <a:cs typeface="+mn-cs"/>
              </a:rPr>
              <a:pPr/>
              <a:t>20.0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25E348C1-2A17-012D-4E60-303EE0E6BB7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042150" y="4564063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F500BBB-3108-4141-A87C-9D6497B6C262}" type="datetime'''''''''''''3''''''''6''.2''%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6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7" name="Text Placeholder 3">
            <a:extLst>
              <a:ext uri="{FF2B5EF4-FFF2-40B4-BE49-F238E27FC236}">
                <a16:creationId xmlns:a16="http://schemas.microsoft.com/office/drawing/2014/main" id="{EA1C72A7-76CB-A34B-4CA0-D444C92149E8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083425" y="5138738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92332D-1A2D-4EAB-8144-FEDC81D41C7D}" type="datetime'''''''''''''''''''''''''6''''''''''''''''.3''''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C8927A0A-99E8-29F6-F9E2-8BE439DE115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951663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439462F-6B00-4A9D-B2EC-CDA0AF55FF74}" type="datetime'2''41''''''''''''''''''''''''''0''''''YT''D''''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9" name="Text Placeholder 3">
            <a:extLst>
              <a:ext uri="{FF2B5EF4-FFF2-40B4-BE49-F238E27FC236}">
                <a16:creationId xmlns:a16="http://schemas.microsoft.com/office/drawing/2014/main" id="{88BFF69C-67DE-55EE-77EF-C44A279EA19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451850" y="27590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0979FC6-DC73-45C5-A4A1-BCA29C19BBCD}" type="datetime'''''''''''''2''7''''''''''''''.''''5''''''''%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7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0" name="Text Placeholder 3">
            <a:extLst>
              <a:ext uri="{FF2B5EF4-FFF2-40B4-BE49-F238E27FC236}">
                <a16:creationId xmlns:a16="http://schemas.microsoft.com/office/drawing/2014/main" id="{1CDCE2EF-567A-3C91-39D3-A63357A6FAD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451850" y="33051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AC8C2B-EA31-4AD2-A16C-9CDDC304AC3B}" type="datetime'''''''''''''''''''''''''''1''''0''''''.8''''''%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0.8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CDE592CC-8D65-22C9-3EB4-20D94764C7D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451850" y="3725863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9225BF-8B6C-4E49-B85D-86ED5C18F090}" type="datetime'18''''''''''''''.7''''''''''''''''''''''''''%'''''">
              <a:rPr lang="en-US" altLang="en-US" smtClean="0">
                <a:latin typeface="+mn-lt"/>
                <a:cs typeface="+mn-cs"/>
              </a:rPr>
              <a:pPr/>
              <a:t>18.7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2" name="Text Placeholder 3">
            <a:extLst>
              <a:ext uri="{FF2B5EF4-FFF2-40B4-BE49-F238E27FC236}">
                <a16:creationId xmlns:a16="http://schemas.microsoft.com/office/drawing/2014/main" id="{F9047896-EDBB-AA6E-56FB-79808C1CFAA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451850" y="449262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6BF6B0-6320-41AF-8820-A9861836C897}" type="datetime'3''''''5''''''''''''''''''''''.''''''''''''''''''0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5.0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89DB4891-2500-E430-AD73-AC415FFBC83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8493125" y="510857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6393D4-0346-48AB-8C87-038999BC6CB9}" type="datetime'''''''''''''''''''8.''''''''1''''''''''''''%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3127D0B9-C711-7C74-2BC3-FAFF8C3014C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361363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04301A-724A-4C5B-A4B8-13A67898EFC4}" type="datetime'''''''''''''''''2''51''''''0''Y''''''T''''''D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5" name="Text Placeholder 3">
            <a:extLst>
              <a:ext uri="{FF2B5EF4-FFF2-40B4-BE49-F238E27FC236}">
                <a16:creationId xmlns:a16="http://schemas.microsoft.com/office/drawing/2014/main" id="{BD08D012-DA9B-4087-D308-23F58F7EAD8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024688" y="23923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2C290F7-17A3-4380-B6B5-FC40B6569959}" type="datetime'''''''''''''''''''''''12'''''''''',''''66''''''''4''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C229F3EC-FAD2-78F0-E710-E98B2D7CC01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434388" y="22399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0CC3AF6-9C43-4D8E-9DB3-563DAEAAD14B}" type="datetime'''''''''''''''''1''''3'''''''''''''''''',3''75''''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7" name="Text Placeholder 3">
            <a:extLst>
              <a:ext uri="{FF2B5EF4-FFF2-40B4-BE49-F238E27FC236}">
                <a16:creationId xmlns:a16="http://schemas.microsoft.com/office/drawing/2014/main" id="{E42A8CD2-EC16-3A24-2012-0961E847DB71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675563" y="1906588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A9BBAB2-C971-44A0-8D40-3897EA9051E9}" type="datetime'''''+''5''.''''''''''''''6''%'''''''''''''''''''''''">
              <a:rPr lang="en-US" altLang="en-US" b="1" smtClean="0">
                <a:effectLst/>
                <a:latin typeface="+mn-lt"/>
                <a:cs typeface="+mn-cs"/>
              </a:rPr>
              <a:pPr/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sp>
        <p:nvSpPr>
          <p:cNvPr id="148" name="矩形 147">
            <a:extLst>
              <a:ext uri="{FF2B5EF4-FFF2-40B4-BE49-F238E27FC236}">
                <a16:creationId xmlns:a16="http://schemas.microsoft.com/office/drawing/2014/main" id="{197BEDFD-06CE-2217-A7B3-13B157E0E5A0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453563" y="2546350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D01B7963-E67D-A423-8FF7-16E42B4B86E2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9453563" y="2798763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9601CE43-9B9F-6999-011E-8591BC57F396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453563" y="3051175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23A3B88A-F154-5D22-247F-0F950D7C12C7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9453563" y="330358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5E5CCC8B-E673-2657-F769-A9408472F896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9453563" y="3556000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DE5B07B7-E510-9377-DF49-9E965BF92BB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718675" y="252730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5DAA74A-3FE6-4C62-A10E-3B25DA57CC35}" type="datetime'''公''''''''''''''''''''''''立''''二''''''''''''''三级''''''医''院'''">
              <a:rPr lang="zh-CN" altLang="en-US" smtClean="0">
                <a:latin typeface="+mn-lt"/>
                <a:cs typeface="+mn-cs"/>
              </a:rPr>
              <a:pPr/>
              <a:t>公立二三级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C0A39C8B-D806-47B0-3C39-34F79B4AD03B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718675" y="2779713"/>
            <a:ext cx="12858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068089C-09DB-4135-97F2-CFDC740B742F}" type="datetime'''公''''立一''级''医院''''/''''C''''''H''''''C'''''''''''">
              <a:rPr lang="zh-CN" altLang="en-US" smtClean="0">
                <a:latin typeface="+mn-lt"/>
                <a:cs typeface="+mn-cs"/>
              </a:rPr>
              <a:pPr/>
              <a:t>公立一级医院/CHC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BB07258B-35C6-C6D0-E0B0-F3D41C98BBC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718675" y="3032125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AFA6B4D-78B1-4DEF-B9C3-9AB899F29A42}" type="datetime'''''''''''民''''''''''''''''''''''''营''医''''院'''''''''''''''">
              <a:rPr lang="zh-CN" altLang="en-US" smtClean="0">
                <a:latin typeface="+mn-lt"/>
                <a:cs typeface="+mn-cs"/>
              </a:rPr>
              <a:pPr/>
              <a:t>民营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035B6720-AB37-565D-1AF1-BF601F11F891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718675" y="3284538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66CF47F-B5D5-4B78-A466-33A0BEE517EF}" type="datetime'''''''''线''下''零''''''''''''''''售'''''''''''''''''''''''''''''">
              <a:rPr lang="zh-CN" altLang="en-US" smtClean="0">
                <a:latin typeface="+mn-lt"/>
                <a:cs typeface="+mn-cs"/>
              </a:rPr>
              <a:pPr/>
              <a:t>线下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7" name="Text Placeholder 3">
            <a:extLst>
              <a:ext uri="{FF2B5EF4-FFF2-40B4-BE49-F238E27FC236}">
                <a16:creationId xmlns:a16="http://schemas.microsoft.com/office/drawing/2014/main" id="{E8A397CB-F924-C9DD-1E4C-C86476911E8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718675" y="3536950"/>
            <a:ext cx="304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BAF0CA6-9AB0-46D4-BD14-3C70E1E48FF1}" type="datetime'电商'''''">
              <a:rPr lang="zh-CN" altLang="en-US" smtClean="0">
                <a:latin typeface="+mn-lt"/>
                <a:cs typeface="+mn-cs"/>
              </a:rPr>
              <a:pPr/>
              <a:t>电商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68" name="表格 167">
            <a:extLst>
              <a:ext uri="{FF2B5EF4-FFF2-40B4-BE49-F238E27FC236}">
                <a16:creationId xmlns:a16="http://schemas.microsoft.com/office/drawing/2014/main" id="{41341B5E-7290-A5BC-D177-CFB53DDB78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154366"/>
              </p:ext>
            </p:extLst>
          </p:nvPr>
        </p:nvGraphicFramePr>
        <p:xfrm>
          <a:off x="3321050" y="2108830"/>
          <a:ext cx="2772000" cy="380173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772000">
                  <a:extLst>
                    <a:ext uri="{9D8B030D-6E8A-4147-A177-3AD203B41FA5}">
                      <a16:colId xmlns:a16="http://schemas.microsoft.com/office/drawing/2014/main" val="3505404300"/>
                    </a:ext>
                  </a:extLst>
                </a:gridCol>
              </a:tblGrid>
              <a:tr h="2603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4977508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0.3%</a:t>
                      </a:r>
                    </a:p>
                  </a:txBody>
                  <a:tcPr marL="7620" marR="7620" marT="762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859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240318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70.0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947329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89521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173044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07530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39178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4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82013036"/>
                  </a:ext>
                </a:extLst>
              </a:tr>
            </a:tbl>
          </a:graphicData>
        </a:graphic>
      </p:graphicFrame>
      <p:graphicFrame>
        <p:nvGraphicFramePr>
          <p:cNvPr id="170" name="表格 169">
            <a:extLst>
              <a:ext uri="{FF2B5EF4-FFF2-40B4-BE49-F238E27FC236}">
                <a16:creationId xmlns:a16="http://schemas.microsoft.com/office/drawing/2014/main" id="{AB2724A2-0DAF-4C97-F933-61D4107DE3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701912"/>
              </p:ext>
            </p:extLst>
          </p:nvPr>
        </p:nvGraphicFramePr>
        <p:xfrm>
          <a:off x="9507538" y="2131853"/>
          <a:ext cx="2303463" cy="162221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303463">
                  <a:extLst>
                    <a:ext uri="{9D8B030D-6E8A-4147-A177-3AD203B41FA5}">
                      <a16:colId xmlns:a16="http://schemas.microsoft.com/office/drawing/2014/main" val="1129469883"/>
                    </a:ext>
                  </a:extLst>
                </a:gridCol>
              </a:tblGrid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8271025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9%</a:t>
                      </a:r>
                    </a:p>
                  </a:txBody>
                  <a:tcPr marL="7620" marR="7620" marT="762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970648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5752253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913451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427609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818586"/>
                  </a:ext>
                </a:extLst>
              </a:tr>
            </a:tbl>
          </a:graphicData>
        </a:graphic>
      </p:graphicFrame>
      <p:sp>
        <p:nvSpPr>
          <p:cNvPr id="171" name="矩形 170">
            <a:extLst>
              <a:ext uri="{FF2B5EF4-FFF2-40B4-BE49-F238E27FC236}">
                <a16:creationId xmlns:a16="http://schemas.microsoft.com/office/drawing/2014/main" id="{DD391F86-DA93-AABD-672C-E4C2B02A9D78}"/>
              </a:ext>
            </a:extLst>
          </p:cNvPr>
          <p:cNvSpPr/>
          <p:nvPr/>
        </p:nvSpPr>
        <p:spPr>
          <a:xfrm>
            <a:off x="431799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品类分布</a:t>
            </a:r>
            <a:endParaRPr lang="en-US" sz="1200" b="1" dirty="0" err="1">
              <a:solidFill>
                <a:schemeClr val="tx2"/>
              </a:solidFill>
            </a:endParaRPr>
          </a:p>
        </p:txBody>
      </p:sp>
      <p:sp>
        <p:nvSpPr>
          <p:cNvPr id="172" name="矩形 171">
            <a:extLst>
              <a:ext uri="{FF2B5EF4-FFF2-40B4-BE49-F238E27FC236}">
                <a16:creationId xmlns:a16="http://schemas.microsoft.com/office/drawing/2014/main" id="{532D764F-858C-BA72-A9BC-8552B0331330}"/>
              </a:ext>
            </a:extLst>
          </p:cNvPr>
          <p:cNvSpPr/>
          <p:nvPr/>
        </p:nvSpPr>
        <p:spPr>
          <a:xfrm>
            <a:off x="6900863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渠道分布</a:t>
            </a:r>
            <a:endParaRPr 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176" name="直接连接符 175">
            <a:extLst>
              <a:ext uri="{FF2B5EF4-FFF2-40B4-BE49-F238E27FC236}">
                <a16:creationId xmlns:a16="http://schemas.microsoft.com/office/drawing/2014/main" id="{65F6B28F-6BAE-58F0-D8DA-2044FA7934A0}"/>
              </a:ext>
            </a:extLst>
          </p:cNvPr>
          <p:cNvCxnSpPr>
            <a:cxnSpLocks/>
          </p:cNvCxnSpPr>
          <p:nvPr/>
        </p:nvCxnSpPr>
        <p:spPr>
          <a:xfrm>
            <a:off x="385764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直接连接符 177">
            <a:extLst>
              <a:ext uri="{FF2B5EF4-FFF2-40B4-BE49-F238E27FC236}">
                <a16:creationId xmlns:a16="http://schemas.microsoft.com/office/drawing/2014/main" id="{CD65E4C7-3010-9375-2004-B79B428E8C51}"/>
              </a:ext>
            </a:extLst>
          </p:cNvPr>
          <p:cNvCxnSpPr>
            <a:cxnSpLocks/>
          </p:cNvCxnSpPr>
          <p:nvPr/>
        </p:nvCxnSpPr>
        <p:spPr>
          <a:xfrm>
            <a:off x="6759575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矩形 237">
            <a:extLst>
              <a:ext uri="{FF2B5EF4-FFF2-40B4-BE49-F238E27FC236}">
                <a16:creationId xmlns:a16="http://schemas.microsoft.com/office/drawing/2014/main" id="{0DC74E1D-B0AB-2B92-392F-342520BC3CDA}"/>
              </a:ext>
            </a:extLst>
          </p:cNvPr>
          <p:cNvSpPr/>
          <p:nvPr/>
        </p:nvSpPr>
        <p:spPr>
          <a:xfrm>
            <a:off x="414338" y="6009062"/>
            <a:ext cx="5607048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altLang="zh-CN" sz="1100" dirty="0">
                <a:solidFill>
                  <a:schemeClr val="tx1"/>
                </a:solidFill>
              </a:rPr>
              <a:t>* Others</a:t>
            </a:r>
            <a:r>
              <a:rPr lang="zh-CN" altLang="en-US" sz="1100" dirty="0">
                <a:solidFill>
                  <a:schemeClr val="tx1"/>
                </a:solidFill>
              </a:rPr>
              <a:t>包括卓乐定、耐较咛、爱赛平</a:t>
            </a:r>
            <a:r>
              <a:rPr lang="en-US" altLang="zh-CN" sz="1100" dirty="0">
                <a:solidFill>
                  <a:schemeClr val="tx1"/>
                </a:solidFill>
              </a:rPr>
              <a:t>NS</a:t>
            </a:r>
            <a:r>
              <a:rPr lang="zh-CN" altLang="en-US" sz="1100" dirty="0">
                <a:solidFill>
                  <a:schemeClr val="tx1"/>
                </a:solidFill>
              </a:rPr>
              <a:t>、友来特长尾产品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A96AD27-770D-1604-5C10-D0E8E2ACC7CB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3286125" y="2546350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6FA2D864-C595-D53B-EBD6-D991E359B8ED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3286125" y="2798763"/>
            <a:ext cx="214313" cy="160338"/>
          </a:xfrm>
          <a:prstGeom prst="rect">
            <a:avLst/>
          </a:prstGeom>
          <a:solidFill>
            <a:srgbClr val="005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524E1A60-8D8D-8573-0C84-4D08538F1BF3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3286125" y="3252788"/>
            <a:ext cx="214313" cy="160338"/>
          </a:xfrm>
          <a:prstGeom prst="rect">
            <a:avLst/>
          </a:prstGeom>
          <a:solidFill>
            <a:srgbClr val="BFBF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0B6995E-AAA1-9007-4B22-D422E929C909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3286125" y="37068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DDE99BF2-A0C2-AAAC-8B6F-EF39A5879B7C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3286125" y="4160838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873F987F-6241-337D-893B-A05A9B5185CA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3286125" y="4614863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382C2D33-B6C1-73D0-4E2C-A6C7069B9509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3286125" y="506888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8A11D334-71EC-5BA0-E4B0-6C4C715875FF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3286125" y="5522913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DC9A1BE-9AA0-1C8C-7A3F-1D0DD8777E0F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551238" y="2527300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3D7C992-164B-47EA-853B-9F1BC2ABD63B}" type="datetime'''''''''''O''''th''''''''''''''''''e''''''''''rs''''''''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Others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3064D15-7E1B-5E62-2E30-AC6C66B51D54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551238" y="2779713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3B1DE70-1329-4435-9190-7DD2645BA613}" type="datetime'''医疗''''自''''''''诊双''''属性''''''&#10;爱宁''''达''、维''''''固''''''''''力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医疗自诊双属性
爱宁达、维固力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55C64BA-A0B9-C05A-3633-7D3FDA3294FD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551238" y="3233738"/>
            <a:ext cx="80486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153781C-6141-440F-A53F-E1752C409E81}" type="datetime'''新''''''''''''兴''/''''''''''新上''''''''''市''&#10;迪''敏''''''''思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新兴/新上市
迪敏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69C7873-BE91-B253-DC9C-489D16FD64A5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3551238" y="3687763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F74703B-3E98-4957-BF73-10C6A979AC88}" type="datetime'''N''''''''''''''o''''n''-V''B''P''&#10;可''多''''''''华、利''''加隆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Non-VBP
可多华、利加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A7B12D6-922A-4601-3B99-646531F3C222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551238" y="4141788"/>
            <a:ext cx="16764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6CA3FFE-31BE-4A8F-8101-4BE63C77F594}" type="datetime'''''''''CN''''S''''&#10;''''左洛复''、''''怡诺思、''卓''乐''''定''''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NS
左洛复、怡诺思、卓乐定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F36B3C0-7F01-131F-23AA-CD9F5F6F6F5C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551238" y="4595813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C06D5F9-9D1F-4E4A-83F8-72E848A609A9}" type="datetime'''P''''''''''ain''''''&#10;''''西乐''''''葆''、乐''''瑞''''''''卡''''''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Pain
西乐葆、乐瑞卡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521A423-3549-2919-98B1-C36EBE9E6FE4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551238" y="5049838"/>
            <a:ext cx="4572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EE9BE09-F771-4F39-A5D0-97D37A66FFE9}" type="datetime'''ED''''''''&#10;万''''''''''''''''''''''''艾''可''''''''''''''''''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ED
万艾可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7E40A6D-AD41-984B-2BEC-00627D82E49E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551238" y="5503863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0C5613A-C60D-4092-A4D0-2E40E85C3BD8}" type="datetime'''''''''''C''V''''''''''&#10;''立''''''普妥、''络''''''''''活''喜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V
立普妥、络活喜</a:t>
            </a:fld>
            <a:endParaRPr 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86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48CD85-80E2-3D52-4532-66257E3E1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8942CFD7-34E4-FCB6-B23A-45126ABAC8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548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2" imgW="473" imgH="476" progId="TCLayout.ActiveDocument.1">
                  <p:embed/>
                </p:oleObj>
              </mc:Choice>
              <mc:Fallback>
                <p:oleObj name="think-cell 幻灯片" r:id="rId72" imgW="473" imgH="47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2CFD7-34E4-FCB6-B23A-45126ABAC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EF827EB1-8B3E-15EC-6D27-7199C273A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sz="2000" dirty="0"/>
          </a:p>
        </p:txBody>
      </p:sp>
      <p:graphicFrame>
        <p:nvGraphicFramePr>
          <p:cNvPr id="53" name="Chart 3">
            <a:extLst>
              <a:ext uri="{FF2B5EF4-FFF2-40B4-BE49-F238E27FC236}">
                <a16:creationId xmlns:a16="http://schemas.microsoft.com/office/drawing/2014/main" id="{4D8DB602-469E-8E4B-2BA7-41B8A3430A3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439970"/>
              </p:ext>
            </p:extLst>
          </p:nvPr>
        </p:nvGraphicFramePr>
        <p:xfrm>
          <a:off x="325438" y="2384425"/>
          <a:ext cx="2982912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128" name="直接连接符 127">
            <a:extLst>
              <a:ext uri="{FF2B5EF4-FFF2-40B4-BE49-F238E27FC236}">
                <a16:creationId xmlns:a16="http://schemas.microsoft.com/office/drawing/2014/main" id="{DDA9C43F-300F-C244-B518-B9572F3123C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V="1">
            <a:off x="1112838" y="2003426"/>
            <a:ext cx="0" cy="309563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直接连接符 128">
            <a:extLst>
              <a:ext uri="{FF2B5EF4-FFF2-40B4-BE49-F238E27FC236}">
                <a16:creationId xmlns:a16="http://schemas.microsoft.com/office/drawing/2014/main" id="{F1392CDD-C776-74B7-E3E7-CF51E02E6730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112838" y="2003425"/>
            <a:ext cx="1408113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直接连接符 157">
            <a:extLst>
              <a:ext uri="{FF2B5EF4-FFF2-40B4-BE49-F238E27FC236}">
                <a16:creationId xmlns:a16="http://schemas.microsoft.com/office/drawing/2014/main" id="{65E51F99-40E3-36BA-6DE9-88252C28E8BA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520950" y="2003425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C297F3C5-D9A0-5DCA-2872-D91A3FEFC79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1428750" y="2635250"/>
            <a:ext cx="95250" cy="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8BA22BF7-1526-7870-2CD2-FA63B3D2563A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 flipV="1">
            <a:off x="2836863" y="2479675"/>
            <a:ext cx="95250" cy="873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3EE5BB7-3102-5868-653B-8D0223F492D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524000" y="2535238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3B8DFCF-400B-4BE2-AA59-6774CD7043F3}" type="datetime'''''''''''1''''''''''.2''''''''''''%'''''''''''''''''">
              <a:rPr lang="en-US" altLang="en-US" smtClean="0">
                <a:latin typeface="+mn-lt"/>
                <a:cs typeface="+mn-cs"/>
              </a:rPr>
              <a:pPr/>
              <a:t>1.2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8ABE05-A9E5-8CF6-DA4E-7802B287E58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114425" y="2552700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78685D0-2ECB-47AC-8900-E7F42EB54FD8}" type="datetime'''''''''''''0''''.''''''''''''''''''''''''''''''0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0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64BC61D-FB73-E3DC-8BBE-4681D77FA21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2313" y="2628900"/>
            <a:ext cx="390525" cy="201613"/>
          </a:xfrm>
          <a:prstGeom prst="rect">
            <a:avLst/>
          </a:prstGeom>
          <a:solidFill>
            <a:srgbClr val="6464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20821F7-F450-4BEB-8AAE-6EC5EF0BF34B}" type="datetime'''''''''''''5''''''''''''''''''''''.''''''''6''''''''''''''%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5D0FAEE-58AD-C5AC-6CF7-63FFEAA3609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81062" y="2862263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BC65AE9-5181-4BDB-9B4B-28DA38AC8F5F}" type="datetime'''''1''''''''''''''''''''''''''''1''''''''.7''''''''''''%'''">
              <a:rPr lang="en-US" altLang="en-US" smtClean="0">
                <a:latin typeface="+mn-lt"/>
                <a:cs typeface="+mn-cs"/>
              </a:rPr>
              <a:pPr/>
              <a:t>11.7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4FCAF79-A649-6495-DA66-E931BE1C762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81062" y="3181350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B3CF10-F3A0-4292-985E-3C0A763E8563}" type="datetime'''1''''''''''''''1.''9''''''''''''''''''''''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BC465C6-F86D-C40A-F7B6-82CD00B5AAC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76300" y="42830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41FB0A3-A665-4334-B414-3D81D7673948}" type="datetime'''''''''''6''9''''''''''''''''''.''5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9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69D9F1E-8FC8-E71B-72D0-1AF1290A2A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85813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F14F7A8-0CDD-44B6-8BE1-ADF3AB5F0A50}" type="datetime'''''''''''''241''''''''''0''''''Y''''TD''''''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8C6B2AD-9A15-5247-9D21-D73EDEDFCFD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32113" y="246697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11E8F78-50EB-4F94-951E-0DB444CDE15C}" type="datetime'''''''''''''''''0''''''''''''''''''''.''9''''''%'''''''">
              <a:rPr lang="en-US" altLang="en-US" smtClean="0">
                <a:latin typeface="+mn-lt"/>
                <a:cs typeface="+mn-cs"/>
              </a:rPr>
              <a:pPr/>
              <a:t>0.9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465CC20-AB97-7597-F850-34FA5C4FA6E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522538" y="2395538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1E26882-003C-466E-AF9F-ECA11187890C}" type="datetime'''''''''''0''''''.2''''''''''''''%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0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8F9345-DE60-DCB2-33F9-FD5956AD8F0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30425" y="2500313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FBFB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E529D51-9CBE-499E-933F-B9710F3732BE}" type="datetime'7''''''''''''''''''.1''''''''''''''%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7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D87C531-FBB9-3BEC-2DBB-34D8B8C593D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289174" y="2763838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56296AA-262E-4914-94CF-3F5101D2A0AF}" type="datetime'''''''''''''1''1''''''''.''''''''''''''''''''''3''''''%'">
              <a:rPr lang="en-US" altLang="en-US" smtClean="0">
                <a:latin typeface="+mn-lt"/>
                <a:cs typeface="+mn-cs"/>
              </a:rPr>
              <a:pPr/>
              <a:t>11.3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0149F21-47A0-3A2B-0381-301B245955F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89174" y="3082925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416CCD3-4D67-4C0F-9DC6-AD9E668E23F5}" type="datetime'''''''''1''''1.''''''''''''''''1''''%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DEFB97E-AE34-FCC9-D92D-75D4B188EB9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284413" y="42322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94DCAA3-40D6-4134-8823-732DFCE83187}" type="datetime'''''''''''''''''6''''''''''''''''9''''''''.''''''''4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9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5F41E36-2010-F6EC-8376-5C5B59FAEFD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193925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E30EB4-64B1-4A4E-AA5D-433FED5F646B}" type="datetime'2''''5''''''''''''1''''''''''''0''''YTD''''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3E83A37-2AAA-8D28-40B3-DB98F3EF701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58838" y="2351088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DD5ADE-B794-4F55-AA60-118708BE96B6}" type="datetime'''''''''''''12'''',''''''66''''''''''''''''''''''''''''''4''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D3CB925-0765-BC32-9FC8-324956E52D4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266950" y="2193925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E6DAA7E-F70D-4B6E-9825-8185E2E6D34E}" type="datetime'''13,''''3''7''''''''''''5''''''''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47814182-7D76-64A4-933E-BEE92D5A3C2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508125" y="1860550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DAB306-E705-49AA-B090-3EFA8FA54413}" type="datetime'''''''''''''''''''+''''''''5''''''''.''''''6''''''''''''''%'''">
              <a:rPr lang="en-US" altLang="en-US" b="1" smtClean="0">
                <a:effectLst/>
                <a:latin typeface="+mn-lt"/>
                <a:cs typeface="+mn-cs"/>
              </a:rPr>
              <a:pPr/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graphicFrame>
        <p:nvGraphicFramePr>
          <p:cNvPr id="163" name="Chart 3">
            <a:extLst>
              <a:ext uri="{FF2B5EF4-FFF2-40B4-BE49-F238E27FC236}">
                <a16:creationId xmlns:a16="http://schemas.microsoft.com/office/drawing/2014/main" id="{D247357F-2681-EF8A-C4CF-D16FE4EA5EFC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950729616"/>
              </p:ext>
            </p:extLst>
          </p:nvPr>
        </p:nvGraphicFramePr>
        <p:xfrm>
          <a:off x="6491288" y="2384425"/>
          <a:ext cx="29845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1561A093-01E9-B26D-B5F6-5B8D9ACC39CE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V="1">
            <a:off x="7278688" y="2049463"/>
            <a:ext cx="0" cy="3048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2D54986-8E29-793D-4A16-0D566F266C8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278688" y="2049463"/>
            <a:ext cx="14097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9D17D95F-9273-45DB-6D14-7CDFBCFB0CAC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8688388" y="2049463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0288F4D8-8ACE-4D7F-AB02-9C95C6F921B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042150" y="286702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345FD7-3EAC-4530-88D7-E66828DB1B3B}" type="datetime'''''2''''''''5''''''.''''''''8''%'''''">
              <a:rPr lang="en-US" altLang="en-US" smtClean="0">
                <a:latin typeface="+mn-lt"/>
                <a:cs typeface="+mn-cs"/>
              </a:rPr>
              <a:pPr/>
              <a:t>25.8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4" name="Text Placeholder 3">
            <a:extLst>
              <a:ext uri="{FF2B5EF4-FFF2-40B4-BE49-F238E27FC236}">
                <a16:creationId xmlns:a16="http://schemas.microsoft.com/office/drawing/2014/main" id="{8A685CE3-3AA8-512C-ADCE-D7DC792AC56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083425" y="3344863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3CAAB3F-E9CA-44BD-99BB-0C925BEC172A}" type="datetime'''''''''''''''''9''''''''''''''''''.''''6''''''''%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9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9CDA0D0B-7D86-7D59-DF73-3EA4C48C79E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042150" y="36988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5A72D5-096D-4D5B-8283-D235E8B481ED}" type="datetime'''''''''''''''''''''''''''''''''''16''''.''''''''''5%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6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55B81F4D-93E1-8D70-4335-D8C708933BF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042150" y="4411663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F500BBB-3108-4141-A87C-9D6497B6C262}" type="datetime'''''''''''''3''''''''6''.2''%'''''''''''''''">
              <a:rPr lang="en-US" altLang="en-US" smtClean="0">
                <a:latin typeface="+mn-lt"/>
                <a:cs typeface="+mn-cs"/>
              </a:rPr>
              <a:pPr/>
              <a:t>36.2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7" name="Text Placeholder 3">
            <a:extLst>
              <a:ext uri="{FF2B5EF4-FFF2-40B4-BE49-F238E27FC236}">
                <a16:creationId xmlns:a16="http://schemas.microsoft.com/office/drawing/2014/main" id="{8E873A77-360B-E7EB-5A16-8B21DDA8407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280275" y="498792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92332D-1A2D-4EAB-8144-FEDC81D41C7D}" type="datetime'''''''''''''''''''''''''6''''''''''''''''.3''''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A65B85F6-0D9A-C6B8-91DC-9FB296D252B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951663" y="5437188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439462F-6B00-4A9D-B2EC-CDA0AF55FF74}" type="datetime'2''41''''''''''''''''''''''''''0''''''YT''D''''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9" name="Text Placeholder 3">
            <a:extLst>
              <a:ext uri="{FF2B5EF4-FFF2-40B4-BE49-F238E27FC236}">
                <a16:creationId xmlns:a16="http://schemas.microsoft.com/office/drawing/2014/main" id="{92D71912-E81E-AC68-F12D-4242D343442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451850" y="27511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F9EEF0D-A514-443A-AA5A-6EBCC70BA9CA}" type="datetime'''''''''''''''''''26''''''.''''''''''''''9%'''''''">
              <a:rPr lang="en-US" altLang="en-US" smtClean="0">
                <a:latin typeface="+mn-lt"/>
                <a:cs typeface="+mn-cs"/>
              </a:rPr>
              <a:pPr/>
              <a:t>26.9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0" name="Text Placeholder 3">
            <a:extLst>
              <a:ext uri="{FF2B5EF4-FFF2-40B4-BE49-F238E27FC236}">
                <a16:creationId xmlns:a16="http://schemas.microsoft.com/office/drawing/2014/main" id="{BB48C049-F87D-2570-628B-4EDDAC57BDA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451850" y="327818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CEDA417-9936-4192-AC2E-7A16151D3CD3}" type="datetime'''''''''''''''10''''''''''''.''''''''''''''''''0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0.0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C17E1A7B-130E-8A38-E554-BC2862E364E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451850" y="366712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8E27F9-86D0-4B09-B24C-DFCE0F1D7A80}" type="datetime'''''''''17''''''''''''''''''.''''''2''''''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7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2" name="Text Placeholder 3">
            <a:extLst>
              <a:ext uri="{FF2B5EF4-FFF2-40B4-BE49-F238E27FC236}">
                <a16:creationId xmlns:a16="http://schemas.microsoft.com/office/drawing/2014/main" id="{AF995D7A-89B5-3E52-624D-90709DC2F23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451850" y="4413250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6BF6B0-6320-41AF-8820-A9861836C897}" type="datetime'3''''''5''''''''''''''''''''''.''''''''''''''''''0%'''">
              <a:rPr lang="en-US" altLang="en-US" smtClean="0">
                <a:latin typeface="+mn-lt"/>
                <a:cs typeface="+mn-cs"/>
              </a:rPr>
              <a:pPr/>
              <a:t>35.0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28C17417-D901-B5AE-6A27-140B1E371AC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689975" y="5029200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6393D4-0346-48AB-8C87-038999BC6CB9}" type="datetime'''''''''''''''''''8.''''''''1''''''''''''''%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2DC73AD9-0CB3-CF37-7894-4AB1C59A912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361363" y="5437188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04301A-724A-4C5B-A4B8-13A67898EFC4}" type="datetime'''''''''''''''''2''51''''''0''Y''''''T''''''D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5" name="Text Placeholder 3">
            <a:extLst>
              <a:ext uri="{FF2B5EF4-FFF2-40B4-BE49-F238E27FC236}">
                <a16:creationId xmlns:a16="http://schemas.microsoft.com/office/drawing/2014/main" id="{B12833B9-C2C7-47D4-C144-08A9CAC87D4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024688" y="23923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2C290F7-17A3-4380-B6B5-FC40B6569959}" type="datetime'''''''''''''''''''''''12'''''''''',''''66''''''''4''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E8976CB7-CFD3-27C8-602C-07FE685DE6B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434388" y="22399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0CC3AF6-9C43-4D8E-9DB3-563DAEAAD14B}" type="datetime'''''''''''''''''1''''3'''''''''''''''''',3''75''''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9" name="Text Placeholder 3">
            <a:extLst>
              <a:ext uri="{FF2B5EF4-FFF2-40B4-BE49-F238E27FC236}">
                <a16:creationId xmlns:a16="http://schemas.microsoft.com/office/drawing/2014/main" id="{885A18A9-7940-F158-31E1-2F68AD70E9F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888163" y="5148263"/>
            <a:ext cx="390525" cy="201613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1271CFD-0C62-4F60-AA36-A5A90201BFF8}" type="datetime'5''''''''''''.''''''''''''''''''''6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5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60" name="Text Placeholder 3">
            <a:extLst>
              <a:ext uri="{FF2B5EF4-FFF2-40B4-BE49-F238E27FC236}">
                <a16:creationId xmlns:a16="http://schemas.microsoft.com/office/drawing/2014/main" id="{8DB74715-D2FA-B9F1-B3C2-B73C78248751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297863" y="5184775"/>
            <a:ext cx="390525" cy="201613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FE457D0-3580-4657-BF1F-028AC5441A96}" type="datetime'''''''''''''2.''''''''''8''''''''''''''''''''''''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.8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7" name="Text Placeholder 3">
            <a:extLst>
              <a:ext uri="{FF2B5EF4-FFF2-40B4-BE49-F238E27FC236}">
                <a16:creationId xmlns:a16="http://schemas.microsoft.com/office/drawing/2014/main" id="{362C2E1D-F123-1560-C87B-3E5FB176F6C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675563" y="1906588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A9BBAB2-C971-44A0-8D40-3897EA9051E9}" type="datetime'''''+''5''.''''''''''''''6''%'''''''''''''''''''''''">
              <a:rPr lang="en-US" altLang="en-US" b="1" smtClean="0">
                <a:effectLst/>
                <a:latin typeface="+mn-lt"/>
                <a:cs typeface="+mn-cs"/>
              </a:rPr>
              <a:pPr/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sp>
        <p:nvSpPr>
          <p:cNvPr id="148" name="矩形 147">
            <a:extLst>
              <a:ext uri="{FF2B5EF4-FFF2-40B4-BE49-F238E27FC236}">
                <a16:creationId xmlns:a16="http://schemas.microsoft.com/office/drawing/2014/main" id="{B9F90135-EE27-C14C-47EE-90C914E3701F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9453563" y="2546350"/>
            <a:ext cx="214313" cy="160338"/>
          </a:xfrm>
          <a:prstGeom prst="rect">
            <a:avLst/>
          </a:prstGeom>
          <a:solidFill>
            <a:srgbClr val="BFBF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1A9F7D60-12C1-5401-2842-63F704324016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453563" y="279876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8C8487C6-E4C3-9100-F8C4-9C8BC5FFE7D8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453563" y="3051175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054119D2-B65C-6D85-4EDF-5669B67546F3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9453563" y="3303588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B0767968-8A44-A1E1-70A8-605492EE2456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9453563" y="35560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64" name="矩形 163">
            <a:extLst>
              <a:ext uri="{FF2B5EF4-FFF2-40B4-BE49-F238E27FC236}">
                <a16:creationId xmlns:a16="http://schemas.microsoft.com/office/drawing/2014/main" id="{A45DEC8D-506C-D780-D568-43A23B1D1D0F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453563" y="3808413"/>
            <a:ext cx="214312" cy="160337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41B51256-9EB6-A09A-ADDC-FD4B3D65E74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718675" y="252730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5DAA74A-3FE6-4C62-A10E-3B25DA57CC35}" type="datetime'''公''''''''''''''''''''''''立''''二''''''''''''''三级''''''医''院'''">
              <a:rPr lang="zh-CN" altLang="en-US" smtClean="0">
                <a:latin typeface="+mn-lt"/>
                <a:cs typeface="+mn-cs"/>
              </a:rPr>
              <a:pPr/>
              <a:t>公立二三级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886257FF-2484-EE84-E99C-9E9B3314B324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9718675" y="2779713"/>
            <a:ext cx="12858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068089C-09DB-4135-97F2-CFDC740B742F}" type="datetime'''公''''立一''级''医院''''/''''C''''''H''''''C'''''''''''">
              <a:rPr lang="zh-CN" altLang="en-US" smtClean="0">
                <a:latin typeface="+mn-lt"/>
                <a:cs typeface="+mn-cs"/>
              </a:rPr>
              <a:pPr/>
              <a:t>公立一级医院/CHC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59D8A832-0883-5ED2-0859-0AFDF1A9827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9718675" y="3032125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AFA6B4D-78B1-4DEF-B9C3-9AB899F29A42}" type="datetime'''''''''''民''''''''''''''''''''''''营''医''''院'''''''''''''''">
              <a:rPr lang="zh-CN" altLang="en-US" smtClean="0">
                <a:latin typeface="+mn-lt"/>
                <a:cs typeface="+mn-cs"/>
              </a:rPr>
              <a:pPr/>
              <a:t>民营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9FE30C96-9FD8-03B0-6680-8C5C81588C0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718675" y="3284538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66CF47F-B5D5-4B78-A466-33A0BEE517EF}" type="datetime'''''''''线''下''零''''''''''''''''售'''''''''''''''''''''''''''''">
              <a:rPr lang="zh-CN" altLang="en-US" smtClean="0">
                <a:latin typeface="+mn-lt"/>
                <a:cs typeface="+mn-cs"/>
              </a:rPr>
              <a:pPr/>
              <a:t>线下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7" name="Text Placeholder 3">
            <a:extLst>
              <a:ext uri="{FF2B5EF4-FFF2-40B4-BE49-F238E27FC236}">
                <a16:creationId xmlns:a16="http://schemas.microsoft.com/office/drawing/2014/main" id="{676220BC-41A2-97C6-CE7C-96C25CC186A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718675" y="3536950"/>
            <a:ext cx="304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BAF0CA6-9AB0-46D4-BD14-3C70E1E48FF1}" type="datetime'电商'''''">
              <a:rPr lang="zh-CN" altLang="en-US" smtClean="0">
                <a:latin typeface="+mn-lt"/>
                <a:cs typeface="+mn-cs"/>
              </a:rPr>
              <a:pPr/>
              <a:t>电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AC9425F2-4488-B5F5-0B82-E6957EA31CE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718675" y="378936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B996C0-7703-4E23-AF28-20387CF279E2}" type="datetime'''基''''层''''''及''''''其''''''''''''''他'''''''''">
              <a:rPr lang="zh-CN" altLang="en-US" smtClean="0">
                <a:latin typeface="+mn-lt"/>
                <a:cs typeface="+mn-cs"/>
              </a:rPr>
              <a:pPr/>
              <a:t>基层及其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68" name="表格 167">
            <a:extLst>
              <a:ext uri="{FF2B5EF4-FFF2-40B4-BE49-F238E27FC236}">
                <a16:creationId xmlns:a16="http://schemas.microsoft.com/office/drawing/2014/main" id="{D2ED8A93-A64F-842C-9362-B936615B95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0617276"/>
              </p:ext>
            </p:extLst>
          </p:nvPr>
        </p:nvGraphicFramePr>
        <p:xfrm>
          <a:off x="3321050" y="2120260"/>
          <a:ext cx="2772000" cy="311773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772000">
                  <a:extLst>
                    <a:ext uri="{9D8B030D-6E8A-4147-A177-3AD203B41FA5}">
                      <a16:colId xmlns:a16="http://schemas.microsoft.com/office/drawing/2014/main" val="3505404300"/>
                    </a:ext>
                  </a:extLst>
                </a:gridCol>
              </a:tblGrid>
              <a:tr h="2603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4977508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0.4%</a:t>
                      </a:r>
                    </a:p>
                  </a:txBody>
                  <a:tcPr marL="7620" marR="7620" marT="762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859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70.0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240318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947329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895216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173044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4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075308"/>
                  </a:ext>
                </a:extLst>
              </a:tr>
            </a:tbl>
          </a:graphicData>
        </a:graphic>
      </p:graphicFrame>
      <p:graphicFrame>
        <p:nvGraphicFramePr>
          <p:cNvPr id="170" name="表格 169">
            <a:extLst>
              <a:ext uri="{FF2B5EF4-FFF2-40B4-BE49-F238E27FC236}">
                <a16:creationId xmlns:a16="http://schemas.microsoft.com/office/drawing/2014/main" id="{D9801C33-6079-305D-D6C9-6FA181383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423282"/>
              </p:ext>
            </p:extLst>
          </p:nvPr>
        </p:nvGraphicFramePr>
        <p:xfrm>
          <a:off x="9507538" y="2131853"/>
          <a:ext cx="2303463" cy="1871982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303463">
                  <a:extLst>
                    <a:ext uri="{9D8B030D-6E8A-4147-A177-3AD203B41FA5}">
                      <a16:colId xmlns:a16="http://schemas.microsoft.com/office/drawing/2014/main" val="1129469883"/>
                    </a:ext>
                  </a:extLst>
                </a:gridCol>
              </a:tblGrid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8271025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2%</a:t>
                      </a:r>
                    </a:p>
                  </a:txBody>
                  <a:tcPr marL="7620" marR="7620" marT="762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970648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2965697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5752253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913451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427609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7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818586"/>
                  </a:ext>
                </a:extLst>
              </a:tr>
            </a:tbl>
          </a:graphicData>
        </a:graphic>
      </p:graphicFrame>
      <p:sp>
        <p:nvSpPr>
          <p:cNvPr id="171" name="矩形 170">
            <a:extLst>
              <a:ext uri="{FF2B5EF4-FFF2-40B4-BE49-F238E27FC236}">
                <a16:creationId xmlns:a16="http://schemas.microsoft.com/office/drawing/2014/main" id="{293E5EAB-9897-53B8-CA79-F72C2974461D}"/>
              </a:ext>
            </a:extLst>
          </p:cNvPr>
          <p:cNvSpPr/>
          <p:nvPr/>
        </p:nvSpPr>
        <p:spPr>
          <a:xfrm>
            <a:off x="431799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品类分布</a:t>
            </a:r>
            <a:endParaRPr lang="en-US" sz="1200" b="1" dirty="0" err="1">
              <a:solidFill>
                <a:schemeClr val="tx2"/>
              </a:solidFill>
            </a:endParaRPr>
          </a:p>
        </p:txBody>
      </p:sp>
      <p:sp>
        <p:nvSpPr>
          <p:cNvPr id="172" name="矩形 171">
            <a:extLst>
              <a:ext uri="{FF2B5EF4-FFF2-40B4-BE49-F238E27FC236}">
                <a16:creationId xmlns:a16="http://schemas.microsoft.com/office/drawing/2014/main" id="{ADD7E32B-9B7B-83D7-95EF-2A06B8DAAE95}"/>
              </a:ext>
            </a:extLst>
          </p:cNvPr>
          <p:cNvSpPr/>
          <p:nvPr/>
        </p:nvSpPr>
        <p:spPr>
          <a:xfrm>
            <a:off x="6900863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渠道分布</a:t>
            </a:r>
            <a:endParaRPr 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176" name="直接连接符 175">
            <a:extLst>
              <a:ext uri="{FF2B5EF4-FFF2-40B4-BE49-F238E27FC236}">
                <a16:creationId xmlns:a16="http://schemas.microsoft.com/office/drawing/2014/main" id="{DA362408-D075-4A20-6545-487AB4E7D63A}"/>
              </a:ext>
            </a:extLst>
          </p:cNvPr>
          <p:cNvCxnSpPr>
            <a:cxnSpLocks/>
          </p:cNvCxnSpPr>
          <p:nvPr/>
        </p:nvCxnSpPr>
        <p:spPr>
          <a:xfrm>
            <a:off x="385764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直接连接符 177">
            <a:extLst>
              <a:ext uri="{FF2B5EF4-FFF2-40B4-BE49-F238E27FC236}">
                <a16:creationId xmlns:a16="http://schemas.microsoft.com/office/drawing/2014/main" id="{F53C3740-50A0-C913-EB10-F57942B9DD43}"/>
              </a:ext>
            </a:extLst>
          </p:cNvPr>
          <p:cNvCxnSpPr>
            <a:cxnSpLocks/>
          </p:cNvCxnSpPr>
          <p:nvPr/>
        </p:nvCxnSpPr>
        <p:spPr>
          <a:xfrm>
            <a:off x="6759575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矩形 237">
            <a:extLst>
              <a:ext uri="{FF2B5EF4-FFF2-40B4-BE49-F238E27FC236}">
                <a16:creationId xmlns:a16="http://schemas.microsoft.com/office/drawing/2014/main" id="{7BDF4C2D-F3BF-9D11-A519-5543E8E4F8A0}"/>
              </a:ext>
            </a:extLst>
          </p:cNvPr>
          <p:cNvSpPr/>
          <p:nvPr/>
        </p:nvSpPr>
        <p:spPr>
          <a:xfrm>
            <a:off x="414338" y="6009062"/>
            <a:ext cx="5607048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altLang="zh-CN" sz="1100" dirty="0">
                <a:solidFill>
                  <a:schemeClr val="tx1"/>
                </a:solidFill>
              </a:rPr>
              <a:t>* Others</a:t>
            </a:r>
            <a:r>
              <a:rPr lang="zh-CN" altLang="en-US" sz="1100" dirty="0">
                <a:solidFill>
                  <a:schemeClr val="tx1"/>
                </a:solidFill>
              </a:rPr>
              <a:t>包括卓乐定、耐较咛、爱赛平</a:t>
            </a:r>
            <a:r>
              <a:rPr lang="en-US" altLang="zh-CN" sz="1100" dirty="0">
                <a:solidFill>
                  <a:schemeClr val="tx1"/>
                </a:solidFill>
              </a:rPr>
              <a:t>NS</a:t>
            </a:r>
            <a:r>
              <a:rPr lang="zh-CN" altLang="en-US" sz="1100" dirty="0">
                <a:solidFill>
                  <a:schemeClr val="tx1"/>
                </a:solidFill>
              </a:rPr>
              <a:t>、友来特长尾产品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C75AB386-E421-ADC1-639D-C3396010E0E2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3286125" y="2546350"/>
            <a:ext cx="214313" cy="160338"/>
          </a:xfrm>
          <a:prstGeom prst="rect">
            <a:avLst/>
          </a:prstGeom>
          <a:solidFill>
            <a:srgbClr val="BFBF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6FDC2A2F-A9B2-DD3D-F833-58C71A3A5E8B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3286125" y="279876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546A5674-3916-B0E8-D452-E5B9AB9F078E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3286125" y="3252788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9C30E9B6-62E4-5E4E-FAFB-43B3988D8EAF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3286125" y="3706813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3884CECB-5CCD-924D-3413-E06E3E128A64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3286125" y="416083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971643F-F89A-CF6D-A2B2-A972464B5D02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3286125" y="4816475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1168A9D-D8E5-6780-B420-5ADC9BC269E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551238" y="2527300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3D7C992-164B-47EA-853B-9F1BC2ABD63B}" type="datetime'''''''''''O''''th''''''''''''''''''e''''''''''rs''''''''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Others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F55E82B-D7B5-1B1A-F01C-40BF6D72BC4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3551238" y="2779713"/>
            <a:ext cx="86995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6039B87-EB2C-4D3B-9351-06F5EA47814A}" type="datetime'N''ew'''' ''''''P''''''''r''''od''''u''c''t&#10;''迪''敏''''''思'''">
              <a:rPr lang="en-US" altLang="en-US" smtClean="0">
                <a:latin typeface="+mn-lt"/>
                <a:cs typeface="+mn-cs"/>
              </a:rPr>
              <a:pPr/>
              <a:t>New Product
迪敏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27CAE76-D2DA-D7F0-DBF1-ED96C62A6343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551237" y="3233738"/>
            <a:ext cx="16764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53E76EC-D48C-436D-A055-408CC56445FB}" type="datetime'Growth ''''''-'''''''''''' Oth''ers''&#10;''可''多华、爱宁达、''''利加''隆'">
              <a:rPr lang="en-US" altLang="en-US" smtClean="0">
                <a:latin typeface="+mn-lt"/>
                <a:cs typeface="+mn-cs"/>
              </a:rPr>
              <a:pPr/>
              <a:t>Growth - Others
可多华、爱宁达、利加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1419304-BF4C-2D37-987D-A5627D776682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551238" y="3687763"/>
            <a:ext cx="12192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E3AB2FA-2014-42DE-BED4-5EC4D1DD80CF}" type="datetime'Gr''o''w''th - ''E''D&#10;万''''艾可、''''''''''''他''''达拉''''''非'''">
              <a:rPr lang="en-US" altLang="en-US" smtClean="0">
                <a:latin typeface="+mn-lt"/>
                <a:cs typeface="+mn-cs"/>
              </a:rPr>
              <a:pPr/>
              <a:t>Growth - ED
万艾可、他达拉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A6112D8-BC20-6BF8-05DB-D0684F4664EE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551238" y="4141787"/>
            <a:ext cx="1676400" cy="604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B9C795F-7FAE-4190-AD58-CEDAF7527609}" type="datetime'VBP ''- ''Ot''h''''er''''s&#10;西乐''葆''''、乐瑞卡、维固力''''''&#10;左洛复''、怡诺思'">
              <a:rPr lang="en-US" altLang="en-US" smtClean="0">
                <a:latin typeface="+mn-lt"/>
                <a:cs typeface="+mn-cs"/>
              </a:rPr>
              <a:pPr/>
              <a:t>VBP - Others
西乐葆、乐瑞卡、维固力
左洛复、怡诺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253F0E0-EF86-D294-15EF-A6A0151708C9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551237" y="4797425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9945104-E420-4BA7-AD81-57D69CA8E4DE}" type="datetime'''''V''BP ''''''''- C''''o''''''''re'' ''CV''''&#10;立普妥、络''活''''喜'">
              <a:rPr lang="en-US" altLang="en-US" smtClean="0">
                <a:latin typeface="+mn-lt"/>
                <a:cs typeface="+mn-cs"/>
              </a:rPr>
              <a:pPr/>
              <a:t>VBP - Core CV
立普妥、络活喜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A380B36-B163-1730-F306-E37B050DCBB3}"/>
              </a:ext>
            </a:extLst>
          </p:cNvPr>
          <p:cNvSpPr/>
          <p:nvPr/>
        </p:nvSpPr>
        <p:spPr>
          <a:xfrm>
            <a:off x="-27464" y="821370"/>
            <a:ext cx="5284787" cy="34290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产品和渠道份额类</a:t>
            </a:r>
            <a:r>
              <a:rPr lang="en-US" altLang="zh-CN" sz="1200" b="1" dirty="0">
                <a:solidFill>
                  <a:schemeClr val="bg1"/>
                </a:solidFill>
              </a:rPr>
              <a:t>2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436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92FD22-9C77-EE54-9E93-21E2A70C3D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94CFC1D-F52B-2E3B-7AE0-EE8808DCB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4580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2" imgW="473" imgH="476" progId="TCLayout.ActiveDocument.1">
                  <p:embed/>
                </p:oleObj>
              </mc:Choice>
              <mc:Fallback>
                <p:oleObj name="think-cell 幻灯片" r:id="rId62" imgW="473" imgH="47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4CFC1D-F52B-2E3B-7AE0-EE8808DCB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78A37AC-AD05-C7F5-1FDA-4C86873D8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400" dirty="0"/>
              <a:t>业务中心和电商团队业绩整体均达成，类消费品团队</a:t>
            </a:r>
            <a:r>
              <a:rPr lang="en-US" altLang="zh-CN" sz="2400" dirty="0"/>
              <a:t>10</a:t>
            </a:r>
            <a:r>
              <a:rPr lang="zh-CN" altLang="en-US" sz="2400" dirty="0"/>
              <a:t>月业绩有所下滑（</a:t>
            </a:r>
            <a:r>
              <a:rPr lang="en-US" altLang="zh-CN" sz="2400" dirty="0"/>
              <a:t>vs 9</a:t>
            </a:r>
            <a:r>
              <a:rPr lang="zh-CN" altLang="en-US" sz="2400" dirty="0"/>
              <a:t>月</a:t>
            </a:r>
            <a:r>
              <a:rPr lang="en-US" altLang="zh-CN" sz="2400" dirty="0"/>
              <a:t>YTD</a:t>
            </a:r>
            <a:r>
              <a:rPr lang="zh-CN" altLang="en-US" sz="2400" dirty="0"/>
              <a:t>同比</a:t>
            </a:r>
            <a:r>
              <a:rPr lang="en-US" altLang="zh-CN" sz="2400" dirty="0"/>
              <a:t> -1.5%</a:t>
            </a:r>
            <a:r>
              <a:rPr lang="zh-CN" altLang="en-US" sz="2400" dirty="0"/>
              <a:t>）</a:t>
            </a:r>
            <a:endParaRPr lang="en-US" sz="2400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C02CD86E-2385-E5F6-B2B3-207825E07B0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661380"/>
              </p:ext>
            </p:extLst>
          </p:nvPr>
        </p:nvGraphicFramePr>
        <p:xfrm>
          <a:off x="195263" y="2384425"/>
          <a:ext cx="2982912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cxnSp>
        <p:nvCxnSpPr>
          <p:cNvPr id="228" name="直接连接符 227">
            <a:extLst>
              <a:ext uri="{FF2B5EF4-FFF2-40B4-BE49-F238E27FC236}">
                <a16:creationId xmlns:a16="http://schemas.microsoft.com/office/drawing/2014/main" id="{6396FC13-4F90-DC6F-4C39-0C1F5B8E018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V="1">
            <a:off x="982663" y="2033589"/>
            <a:ext cx="0" cy="320675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直接连接符 228">
            <a:extLst>
              <a:ext uri="{FF2B5EF4-FFF2-40B4-BE49-F238E27FC236}">
                <a16:creationId xmlns:a16="http://schemas.microsoft.com/office/drawing/2014/main" id="{BED14E0F-3895-23D5-35B3-235C1DF911F0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982663" y="2033588"/>
            <a:ext cx="1408113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接连接符 229">
            <a:extLst>
              <a:ext uri="{FF2B5EF4-FFF2-40B4-BE49-F238E27FC236}">
                <a16:creationId xmlns:a16="http://schemas.microsoft.com/office/drawing/2014/main" id="{46C388D3-7051-46D8-C2FB-BA466BE5CC9D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390775" y="2033588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9" name="Text Placeholder 3">
            <a:extLst>
              <a:ext uri="{FF2B5EF4-FFF2-40B4-BE49-F238E27FC236}">
                <a16:creationId xmlns:a16="http://schemas.microsoft.com/office/drawing/2014/main" id="{C777A144-5DAB-9761-177B-11390B1A57F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84250" y="2614613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BA0418C-BA5C-487F-B805-DDD61C5A8353}" type="datetime'''''''''''''''''''''''7''''''''.1''''''''''''%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0" name="Text Placeholder 3">
            <a:extLst>
              <a:ext uri="{FF2B5EF4-FFF2-40B4-BE49-F238E27FC236}">
                <a16:creationId xmlns:a16="http://schemas.microsoft.com/office/drawing/2014/main" id="{3336E68E-4BFB-ECC2-3996-CBC2F52632A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92138" y="2786063"/>
            <a:ext cx="390525" cy="201613"/>
          </a:xfrm>
          <a:prstGeom prst="rect">
            <a:avLst/>
          </a:prstGeom>
          <a:solidFill>
            <a:srgbClr val="6464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249812-E056-469A-A96C-7515A8D0F7ED}" type="datetime'''''''''''''''''''''''5''''''''.''''6''''''%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1" name="Text Placeholder 3">
            <a:extLst>
              <a:ext uri="{FF2B5EF4-FFF2-40B4-BE49-F238E27FC236}">
                <a16:creationId xmlns:a16="http://schemas.microsoft.com/office/drawing/2014/main" id="{947CDD78-E4F5-07DD-09A6-2256315B3E6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84250" y="2862263"/>
            <a:ext cx="390525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A15571E-5B57-489B-A9B6-AD38A8F354DB}" type="datetime'''0''''.''''''''''''''''''''''1''''''''''''''%'''''''''''''''">
              <a:rPr lang="en-US" altLang="en-US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1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2" name="Text Placeholder 3">
            <a:extLst>
              <a:ext uri="{FF2B5EF4-FFF2-40B4-BE49-F238E27FC236}">
                <a16:creationId xmlns:a16="http://schemas.microsoft.com/office/drawing/2014/main" id="{C4CA2FBA-28FE-4223-4BE4-33583552196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2138" y="298132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D6FDF32-E3D7-4EC8-9567-CD019E47FFFC}" type="datetime'''''''''''''8''''''''''''''''''.7%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.7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3" name="Text Placeholder 3">
            <a:extLst>
              <a:ext uri="{FF2B5EF4-FFF2-40B4-BE49-F238E27FC236}">
                <a16:creationId xmlns:a16="http://schemas.microsoft.com/office/drawing/2014/main" id="{B7595E2C-2748-256D-05CC-F146CACDC0D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46125" y="41608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743DF20-7EBC-4666-87E1-506E70027F8C}" type="datetime'''78''''''''.''6%''''''''''''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8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43A72A9-B431-42E3-5480-AF874F40CF6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55638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1FA1FD4-CDBB-4131-8DD8-663EFD4824AF}" type="datetime'''''''''''''''''''''''''''2''''''4''10''Y''''''''''''''TD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6" name="Text Placeholder 3">
            <a:extLst>
              <a:ext uri="{FF2B5EF4-FFF2-40B4-BE49-F238E27FC236}">
                <a16:creationId xmlns:a16="http://schemas.microsoft.com/office/drawing/2014/main" id="{BCEDCD3B-CAE7-85CC-E3AB-16390C4502D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92363" y="2425700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1BEF158-F175-45EC-8B1C-F2EFC0B5294C}" type="datetime'''''''''''4''.''''''''''''''''2''''''''''''''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4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7" name="Text Placeholder 3">
            <a:extLst>
              <a:ext uri="{FF2B5EF4-FFF2-40B4-BE49-F238E27FC236}">
                <a16:creationId xmlns:a16="http://schemas.microsoft.com/office/drawing/2014/main" id="{DB3BE6E2-E313-A686-7EF6-122DB5314A8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000250" y="2590800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A0F4A8-96B7-474D-9BD9-CAB2DF099F65}" type="datetime'''''''''''''''''''''7''''''''''''.''''''''4''%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8" name="Text Placeholder 3">
            <a:extLst>
              <a:ext uri="{FF2B5EF4-FFF2-40B4-BE49-F238E27FC236}">
                <a16:creationId xmlns:a16="http://schemas.microsoft.com/office/drawing/2014/main" id="{885B4C29-6FB3-744B-93C5-7EFCFF1EDD5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392363" y="2700338"/>
            <a:ext cx="390525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335BF94-86ED-4D0C-84EF-7C83B131CEA8}" type="datetime'0''''''''''''''''''''''''''.''''''2''''%'''''''''''">
              <a:rPr lang="en-US" altLang="en-US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2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9" name="Text Placeholder 3">
            <a:extLst>
              <a:ext uri="{FF2B5EF4-FFF2-40B4-BE49-F238E27FC236}">
                <a16:creationId xmlns:a16="http://schemas.microsoft.com/office/drawing/2014/main" id="{FF2B5B09-4C0F-6FAD-B29D-2798B57F4F3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000250" y="281622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60B09E-6387-429C-BE08-63F7418AB91F}" type="datetime'''''''''7''''.''''''''9''''%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0" name="Text Placeholder 3">
            <a:extLst>
              <a:ext uri="{FF2B5EF4-FFF2-40B4-BE49-F238E27FC236}">
                <a16:creationId xmlns:a16="http://schemas.microsoft.com/office/drawing/2014/main" id="{BCC93580-63DA-4DCD-63BB-741C17F1F9E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54238" y="4076700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FBA8D96-9E2F-4E2A-A89F-9BB704DA9F7F}" type="datetime'''''''''''''''''8''''0.''''''''''''''''''''3''''%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0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6A5E9AF-F9C5-5B0B-BC41-15D6BC59E67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63750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CC07946-292E-457D-A6AE-A95774ED2299}" type="datetime'''''''''''''''''2''''''''510''''Y''''''T''''''D''''''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5" name="Text Placeholder 3">
            <a:extLst>
              <a:ext uri="{FF2B5EF4-FFF2-40B4-BE49-F238E27FC236}">
                <a16:creationId xmlns:a16="http://schemas.microsoft.com/office/drawing/2014/main" id="{35E32FB4-95D3-BF63-2B56-864881595B5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28663" y="23923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6D2E6A6-66A7-4E01-A074-D0BE00D0B511}" type="datetime'''''''''12'',''''''''''6''''''''6''4''''''''''''''''''''''''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02" name="Text Placeholder 3">
            <a:extLst>
              <a:ext uri="{FF2B5EF4-FFF2-40B4-BE49-F238E27FC236}">
                <a16:creationId xmlns:a16="http://schemas.microsoft.com/office/drawing/2014/main" id="{049A0AEC-2F3B-1A15-A2B2-05710674AB1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136775" y="2224088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ED2051-1B4B-4E93-BD90-1B4210DF0425}" type="datetime'''''''1''''''''''''''3'''''''''''',3''7''''''''''5''''''''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6" name="Text Placeholder 3">
            <a:extLst>
              <a:ext uri="{FF2B5EF4-FFF2-40B4-BE49-F238E27FC236}">
                <a16:creationId xmlns:a16="http://schemas.microsoft.com/office/drawing/2014/main" id="{DC20FA80-A269-2DF3-92C3-D523233343C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77950" y="1890713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EBCA71-7948-4C04-8D7F-8ACC5ABC1281}" type="datetime'''''''''''+''''5''''''''.''''6''''''''''''''''''''''%'''''">
              <a:rPr lang="en-US" altLang="en-US" b="1" smtClean="0">
                <a:effectLst/>
                <a:latin typeface="+mn-lt"/>
                <a:cs typeface="+mn-cs"/>
              </a:rPr>
              <a:pPr/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graphicFrame>
        <p:nvGraphicFramePr>
          <p:cNvPr id="21" name="Chart 3">
            <a:extLst>
              <a:ext uri="{FF2B5EF4-FFF2-40B4-BE49-F238E27FC236}">
                <a16:creationId xmlns:a16="http://schemas.microsoft.com/office/drawing/2014/main" id="{1690C32B-5C26-02CC-7490-871B2033C5FE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198320799"/>
              </p:ext>
            </p:extLst>
          </p:nvPr>
        </p:nvGraphicFramePr>
        <p:xfrm>
          <a:off x="6338888" y="2384425"/>
          <a:ext cx="29845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CE4630F9-A19E-9EE0-147D-18AAB147382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V="1">
            <a:off x="7126288" y="2049462"/>
            <a:ext cx="0" cy="36195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AD927E6-F63F-7BF4-F968-0E0E95D8797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7126288" y="2049463"/>
            <a:ext cx="14097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210C6D30-8ADF-1C24-5F67-EBCEF938DDE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8535988" y="2049463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34D9A0B1-FF50-257D-B1A5-FA7C8FD5D2B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89750" y="29797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9EF83D9-5695-4605-BF7C-B03160587F62}" type="datetime'''3''''''''''''0''''''''''''.4''''''''''''%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0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4" name="Text Placeholder 3">
            <a:extLst>
              <a:ext uri="{FF2B5EF4-FFF2-40B4-BE49-F238E27FC236}">
                <a16:creationId xmlns:a16="http://schemas.microsoft.com/office/drawing/2014/main" id="{F984D200-FDB2-821F-0AD5-3AAD7577E47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89750" y="37544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7E014E1-4D89-450F-9C5E-E2548B8D9254}" type="datetime'''2''''''''''''''8''''''''''''.''''''''2%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8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E576F83E-556F-04A1-DDDD-BED5A3F1365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889750" y="4430713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807B0F-9446-43ED-A0AF-5898BEFA204C}" type="datetime'''''''''''''2''''''''2.''''''''''''''''''''''''''''9%'''''">
              <a:rPr lang="en-US" altLang="en-US" smtClean="0">
                <a:latin typeface="+mn-lt"/>
                <a:cs typeface="+mn-cs"/>
              </a:rPr>
              <a:pPr/>
              <a:t>22.9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ED28E0D5-1846-3991-0F70-92C5B61AB65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889750" y="49736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7F184F-56C0-4A08-8968-722056307D92}" type="datetime'''''''''1''8''''''.''''''''''''''''''''''''''''1''''%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8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7" name="Text Placeholder 3">
            <a:extLst>
              <a:ext uri="{FF2B5EF4-FFF2-40B4-BE49-F238E27FC236}">
                <a16:creationId xmlns:a16="http://schemas.microsoft.com/office/drawing/2014/main" id="{BB386973-F59D-476F-5ED2-8B7B1FB4DF1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931025" y="5218113"/>
            <a:ext cx="390525" cy="201613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E8AC2B1-7479-4396-A675-4137A4190D61}" type="datetime'''''''''''0''''''''''''''''''''.4''''''''''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0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1783964A-FCA7-51DE-0480-6C903FB8E5C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799263" y="547370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8055B90-E76E-48A9-8E3C-F77F40740D3F}" type="datetime'''''''''2''''''''''''''''4''''''''''1''''''''''''''''''0YT''D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9" name="Text Placeholder 3">
            <a:extLst>
              <a:ext uri="{FF2B5EF4-FFF2-40B4-BE49-F238E27FC236}">
                <a16:creationId xmlns:a16="http://schemas.microsoft.com/office/drawing/2014/main" id="{E465AA34-ACC2-C212-CBB5-608E3E73AD9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299450" y="27844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5F1EDE-5CBB-47BC-B82E-3E82EF0B3355}" type="datetime'''''''2''''''''''''''9.''3''''''''''''''''''%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9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0" name="Text Placeholder 3">
            <a:extLst>
              <a:ext uri="{FF2B5EF4-FFF2-40B4-BE49-F238E27FC236}">
                <a16:creationId xmlns:a16="http://schemas.microsoft.com/office/drawing/2014/main" id="{626DAB8F-F3A2-D383-4A40-5358F6A8CA7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299450" y="3625850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61E498F-D5E9-4358-872F-FBE070191691}" type="datetime'''''''''''''''''''''''29''''.''''''''''''''6''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9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CFB05BAF-8E1A-BAD6-1F75-F1CA3103EB1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99450" y="437038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813977-4C9D-45E1-A943-0CAE091C20DA}" type="datetime'2''''''2''''''''''''.5%'''''''''''''">
              <a:rPr lang="en-US" altLang="en-US" smtClean="0">
                <a:latin typeface="+mn-lt"/>
                <a:cs typeface="+mn-cs"/>
              </a:rPr>
              <a:pPr/>
              <a:t>22.5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2" name="Text Placeholder 3">
            <a:extLst>
              <a:ext uri="{FF2B5EF4-FFF2-40B4-BE49-F238E27FC236}">
                <a16:creationId xmlns:a16="http://schemas.microsoft.com/office/drawing/2014/main" id="{2047E2BE-3D52-36B3-9736-2F615626D64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299450" y="495458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2711CD3-9E37-4BBC-B1FA-CFD5A2593E9C}" type="datetime'''''''''''''''1''''''''''''''8''''''.5''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8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D5CF4083-6A60-3A60-56C1-B2C05CC2214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340725" y="5221288"/>
            <a:ext cx="390525" cy="201613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EA90BA-D39D-4825-BF78-EF90E9C0FA34}" type="datetime'''0''''.''''''''''''''1''''''''''''''''''''%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0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A63880FC-DA7D-DE51-3A30-A5271227E1A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208963" y="547370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822531-5BC1-486E-B56E-61B1717D4A07}" type="datetime'''''2''5''''1''''''''''''0''Y''''''T''''''''''D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5" name="Text Placeholder 3">
            <a:extLst>
              <a:ext uri="{FF2B5EF4-FFF2-40B4-BE49-F238E27FC236}">
                <a16:creationId xmlns:a16="http://schemas.microsoft.com/office/drawing/2014/main" id="{D2938EFF-8EED-1D65-B92E-A7976F23ABD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915150" y="2449513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5B1556-501B-4648-912B-95C4B7831FEA}" type="datetime'''''''''''''''''''''9'''''''''',9''''''''5''''''''1'''''''">
              <a:rPr lang="en-US" altLang="en-US" smtClean="0">
                <a:latin typeface="+mn-lt"/>
                <a:cs typeface="+mn-cs"/>
              </a:rPr>
              <a:pPr/>
              <a:t>9,95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18E54252-72A2-EF4C-580D-B136FA25CE8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281987" y="22399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A3DE67A-B57F-49D5-8020-0073D90162C0}" type="datetime'''1''''''''''''''''''''''''''''''0'''''''''''''',''73''9'">
              <a:rPr lang="en-US" altLang="en-US" smtClean="0">
                <a:latin typeface="+mn-lt"/>
                <a:cs typeface="+mn-cs"/>
              </a:rPr>
              <a:pPr/>
              <a:t>10,739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7" name="Text Placeholder 3">
            <a:extLst>
              <a:ext uri="{FF2B5EF4-FFF2-40B4-BE49-F238E27FC236}">
                <a16:creationId xmlns:a16="http://schemas.microsoft.com/office/drawing/2014/main" id="{5FC4F210-5D86-0AB8-BE66-4E8A84ECBAA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523163" y="1906588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0069A23-1D4E-4327-B118-1BF54C6AE132}" type="datetime'+7.''''9%'''''''''''''''''''''''''''''''''''''''''">
              <a:rPr lang="en-US" altLang="en-US" b="1" smtClean="0">
                <a:effectLst/>
                <a:latin typeface="+mn-lt"/>
                <a:cs typeface="+mn-cs"/>
              </a:rPr>
              <a:pPr/>
              <a:t>+7.9%</a:t>
            </a:fld>
            <a:endParaRPr lang="en-US" b="1" dirty="0">
              <a:latin typeface="+mn-lt"/>
              <a:cs typeface="+mn-cs"/>
            </a:endParaRPr>
          </a:p>
        </p:txBody>
      </p:sp>
      <p:sp>
        <p:nvSpPr>
          <p:cNvPr id="148" name="矩形 147">
            <a:extLst>
              <a:ext uri="{FF2B5EF4-FFF2-40B4-BE49-F238E27FC236}">
                <a16:creationId xmlns:a16="http://schemas.microsoft.com/office/drawing/2014/main" id="{CC2E9F28-58F2-0808-F3D1-5D2575667207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01163" y="2546350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92E2C93A-0B06-EA2B-6C20-A4739F0C2BF3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301163" y="2798763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93D6BC83-E867-D33E-8328-44DD43431A31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9301163" y="3051175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F670F7CA-C795-80D3-C2E0-A6299000B47D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301163" y="330358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B51D1EA3-CFE3-EEEA-E714-45C6DB4A937E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9301163" y="3556000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2BC05C50-9D1E-4A9A-319A-E066D3415B5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566275" y="2527300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C4F57E9-3AD8-4D7B-84BE-57CA8098D806}" type="datetime'全渠''''''''''''''''道''''''''''北''区'''''''''''''">
              <a:rPr lang="zh-CN" altLang="en-US" smtClean="0">
                <a:latin typeface="+mn-lt"/>
                <a:cs typeface="+mn-cs"/>
              </a:rPr>
              <a:pPr/>
              <a:t>全渠道北区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F08EC7B1-9694-D47B-253D-9B958C33ED5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566275" y="27797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8774DE7-3A24-4FE6-80A1-5099A53346F4}" type="datetime'''''''''全''''''''渠''''''''''''道东''区'''''''''''''''''">
              <a:rPr lang="zh-CN" altLang="en-US" smtClean="0">
                <a:latin typeface="+mn-lt"/>
                <a:cs typeface="+mn-cs"/>
              </a:rPr>
              <a:pPr/>
              <a:t>全渠道东区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F9D56110-1671-5B97-CA27-C2B6D88D52D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9566275" y="3032125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1A98FC4-BFB9-4859-AC10-367C765B9914}" type="datetime'''全渠''''''道''南''区'''''''''''''''''''''">
              <a:rPr lang="zh-CN" altLang="en-US" smtClean="0">
                <a:latin typeface="+mn-lt"/>
                <a:cs typeface="+mn-cs"/>
              </a:rPr>
              <a:pPr/>
              <a:t>全渠道南区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9A973DB6-B33D-9FEA-0E31-C92560C794CC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566275" y="3284538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1EC8C15-4881-4E28-9FAB-FD1A18E552F3}" type="datetime'''全''''''''''''''''''''''''''''''''''''''渠''道中''区'''''''''''">
              <a:rPr lang="zh-CN" altLang="en-US" smtClean="0">
                <a:latin typeface="+mn-lt"/>
                <a:cs typeface="+mn-cs"/>
              </a:rPr>
              <a:pPr/>
              <a:t>全渠道中区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F1216DB-C5F1-D7C8-4CC7-BCA2F1019C7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566275" y="3536950"/>
            <a:ext cx="6000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6E0B7A-AB1E-4162-85F5-01DC74D1BBE0}" type="datetime'B''''''''''''2''''''''''''''''''''''C''''''药''店'">
              <a:rPr lang="en-US" altLang="en-US" smtClean="0">
                <a:latin typeface="+mn-lt"/>
                <a:cs typeface="+mn-cs"/>
              </a:rPr>
              <a:pPr/>
              <a:t>B2C药店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68" name="表格 167">
            <a:extLst>
              <a:ext uri="{FF2B5EF4-FFF2-40B4-BE49-F238E27FC236}">
                <a16:creationId xmlns:a16="http://schemas.microsoft.com/office/drawing/2014/main" id="{934DADF8-0A9C-CD15-F81E-00C06E0892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42843"/>
              </p:ext>
            </p:extLst>
          </p:nvPr>
        </p:nvGraphicFramePr>
        <p:xfrm>
          <a:off x="3248026" y="2501344"/>
          <a:ext cx="2735262" cy="126000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871495">
                  <a:extLst>
                    <a:ext uri="{9D8B030D-6E8A-4147-A177-3AD203B41FA5}">
                      <a16:colId xmlns:a16="http://schemas.microsoft.com/office/drawing/2014/main" val="3505404300"/>
                    </a:ext>
                  </a:extLst>
                </a:gridCol>
                <a:gridCol w="863767">
                  <a:extLst>
                    <a:ext uri="{9D8B030D-6E8A-4147-A177-3AD203B41FA5}">
                      <a16:colId xmlns:a16="http://schemas.microsoft.com/office/drawing/2014/main" val="174733889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7.6%</a:t>
                      </a:r>
                    </a:p>
                  </a:txBody>
                  <a:tcPr marL="7620" marR="7620" marT="7620" marB="0" anchor="ctr"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8598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7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8952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2.8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3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173044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.8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07530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9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9.0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391780"/>
                  </a:ext>
                </a:extLst>
              </a:tr>
            </a:tbl>
          </a:graphicData>
        </a:graphic>
      </p:graphicFrame>
      <p:graphicFrame>
        <p:nvGraphicFramePr>
          <p:cNvPr id="170" name="表格 169">
            <a:extLst>
              <a:ext uri="{FF2B5EF4-FFF2-40B4-BE49-F238E27FC236}">
                <a16:creationId xmlns:a16="http://schemas.microsoft.com/office/drawing/2014/main" id="{E54797A4-E7A7-4CEF-4F8B-D52CF73CB7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7601071"/>
              </p:ext>
            </p:extLst>
          </p:nvPr>
        </p:nvGraphicFramePr>
        <p:xfrm>
          <a:off x="9413876" y="2515684"/>
          <a:ext cx="2411412" cy="124883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3614">
                  <a:extLst>
                    <a:ext uri="{9D8B030D-6E8A-4147-A177-3AD203B41FA5}">
                      <a16:colId xmlns:a16="http://schemas.microsoft.com/office/drawing/2014/main" val="1129469883"/>
                    </a:ext>
                  </a:extLst>
                </a:gridCol>
                <a:gridCol w="827798">
                  <a:extLst>
                    <a:ext uri="{9D8B030D-6E8A-4147-A177-3AD203B41FA5}">
                      <a16:colId xmlns:a16="http://schemas.microsoft.com/office/drawing/2014/main" val="1283414145"/>
                    </a:ext>
                  </a:extLst>
                </a:gridCol>
              </a:tblGrid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%</a:t>
                      </a:r>
                    </a:p>
                  </a:txBody>
                  <a:tcPr marL="7620" marR="7620" marT="7620" marB="0" anchor="ctr"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8.9%</a:t>
                      </a:r>
                    </a:p>
                  </a:txBody>
                  <a:tcPr marL="7620" marR="7620" marT="7620" marB="0" anchor="ctr"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970648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9.0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5752253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8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8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913451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9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427609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4.8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818586"/>
                  </a:ext>
                </a:extLst>
              </a:tr>
            </a:tbl>
          </a:graphicData>
        </a:graphic>
      </p:graphicFrame>
      <p:sp>
        <p:nvSpPr>
          <p:cNvPr id="171" name="矩形 170">
            <a:extLst>
              <a:ext uri="{FF2B5EF4-FFF2-40B4-BE49-F238E27FC236}">
                <a16:creationId xmlns:a16="http://schemas.microsoft.com/office/drawing/2014/main" id="{51A010F1-CBBA-2FF7-5F55-08C24B4BAFF8}"/>
              </a:ext>
            </a:extLst>
          </p:cNvPr>
          <p:cNvSpPr/>
          <p:nvPr/>
        </p:nvSpPr>
        <p:spPr>
          <a:xfrm>
            <a:off x="212725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团队分布</a:t>
            </a:r>
            <a:endParaRPr lang="en-US" sz="1200" b="1" dirty="0" err="1">
              <a:solidFill>
                <a:schemeClr val="tx2"/>
              </a:solidFill>
            </a:endParaRPr>
          </a:p>
        </p:txBody>
      </p:sp>
      <p:sp>
        <p:nvSpPr>
          <p:cNvPr id="172" name="矩形 171">
            <a:extLst>
              <a:ext uri="{FF2B5EF4-FFF2-40B4-BE49-F238E27FC236}">
                <a16:creationId xmlns:a16="http://schemas.microsoft.com/office/drawing/2014/main" id="{488F4B9C-2DC6-91A7-BFC3-39A4292C7601}"/>
              </a:ext>
            </a:extLst>
          </p:cNvPr>
          <p:cNvSpPr/>
          <p:nvPr/>
        </p:nvSpPr>
        <p:spPr>
          <a:xfrm>
            <a:off x="6681788" y="1143000"/>
            <a:ext cx="2732088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全渠道团队</a:t>
            </a:r>
            <a:r>
              <a:rPr lang="en-US" altLang="zh-CN" sz="1200" b="1" dirty="0">
                <a:solidFill>
                  <a:schemeClr val="tx2"/>
                </a:solidFill>
              </a:rPr>
              <a:t>SG</a:t>
            </a:r>
            <a:r>
              <a:rPr lang="zh-CN" altLang="en-US" sz="1200" b="1" dirty="0">
                <a:solidFill>
                  <a:schemeClr val="tx2"/>
                </a:solidFill>
              </a:rPr>
              <a:t>分布</a:t>
            </a:r>
            <a:endParaRPr lang="en-US" sz="1200" b="1" dirty="0" err="1">
              <a:solidFill>
                <a:schemeClr val="tx2"/>
              </a:solidFill>
            </a:endParaRPr>
          </a:p>
        </p:txBody>
      </p:sp>
      <p:sp>
        <p:nvSpPr>
          <p:cNvPr id="173" name="矩形 172">
            <a:extLst>
              <a:ext uri="{FF2B5EF4-FFF2-40B4-BE49-F238E27FC236}">
                <a16:creationId xmlns:a16="http://schemas.microsoft.com/office/drawing/2014/main" id="{F734EDEE-81E2-BE77-7EA6-2DCF6F3365B3}"/>
              </a:ext>
            </a:extLst>
          </p:cNvPr>
          <p:cNvSpPr/>
          <p:nvPr/>
        </p:nvSpPr>
        <p:spPr>
          <a:xfrm>
            <a:off x="4191000" y="2126179"/>
            <a:ext cx="12001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比增长率</a:t>
            </a:r>
            <a:endParaRPr lang="en-US" altLang="zh-CN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10YTD</a:t>
            </a:r>
          </a:p>
        </p:txBody>
      </p:sp>
      <p:cxnSp>
        <p:nvCxnSpPr>
          <p:cNvPr id="176" name="直接连接符 175">
            <a:extLst>
              <a:ext uri="{FF2B5EF4-FFF2-40B4-BE49-F238E27FC236}">
                <a16:creationId xmlns:a16="http://schemas.microsoft.com/office/drawing/2014/main" id="{7B4158EF-BE8C-B4A5-FE80-91D74D7232D6}"/>
              </a:ext>
            </a:extLst>
          </p:cNvPr>
          <p:cNvCxnSpPr>
            <a:cxnSpLocks/>
          </p:cNvCxnSpPr>
          <p:nvPr/>
        </p:nvCxnSpPr>
        <p:spPr>
          <a:xfrm>
            <a:off x="166688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直接连接符 177">
            <a:extLst>
              <a:ext uri="{FF2B5EF4-FFF2-40B4-BE49-F238E27FC236}">
                <a16:creationId xmlns:a16="http://schemas.microsoft.com/office/drawing/2014/main" id="{4DA69E04-DF07-462E-3DFA-239CA89B0699}"/>
              </a:ext>
            </a:extLst>
          </p:cNvPr>
          <p:cNvCxnSpPr>
            <a:cxnSpLocks/>
          </p:cNvCxnSpPr>
          <p:nvPr/>
        </p:nvCxnSpPr>
        <p:spPr>
          <a:xfrm>
            <a:off x="6540500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矩形 219">
            <a:extLst>
              <a:ext uri="{FF2B5EF4-FFF2-40B4-BE49-F238E27FC236}">
                <a16:creationId xmlns:a16="http://schemas.microsoft.com/office/drawing/2014/main" id="{84B30B41-3D63-110D-C6C4-D92405FC5F3A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3155950" y="2546350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21" name="矩形 220">
            <a:extLst>
              <a:ext uri="{FF2B5EF4-FFF2-40B4-BE49-F238E27FC236}">
                <a16:creationId xmlns:a16="http://schemas.microsoft.com/office/drawing/2014/main" id="{17A21362-DFA2-107E-17F3-A10741F34C75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3155950" y="2798762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22" name="矩形 221">
            <a:extLst>
              <a:ext uri="{FF2B5EF4-FFF2-40B4-BE49-F238E27FC236}">
                <a16:creationId xmlns:a16="http://schemas.microsoft.com/office/drawing/2014/main" id="{98CA396F-DF7D-5CFC-4635-434CD910594D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3155950" y="3051175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23" name="矩形 222">
            <a:extLst>
              <a:ext uri="{FF2B5EF4-FFF2-40B4-BE49-F238E27FC236}">
                <a16:creationId xmlns:a16="http://schemas.microsoft.com/office/drawing/2014/main" id="{6A483516-4D5B-3D59-58D5-573AC158F4D1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3155950" y="330358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24" name="矩形 223">
            <a:extLst>
              <a:ext uri="{FF2B5EF4-FFF2-40B4-BE49-F238E27FC236}">
                <a16:creationId xmlns:a16="http://schemas.microsoft.com/office/drawing/2014/main" id="{266E575C-98F1-D09E-CAA3-94D0AAF3ED38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3155950" y="3556000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12" name="Text Placeholder 3">
            <a:extLst>
              <a:ext uri="{FF2B5EF4-FFF2-40B4-BE49-F238E27FC236}">
                <a16:creationId xmlns:a16="http://schemas.microsoft.com/office/drawing/2014/main" id="{E4C6BDE5-1543-ACA6-9466-24BA187A93D3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3421063" y="2527300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782DC35-AC4D-4266-BD4D-EBF16E996F91}" type="datetime'''''非''''''''''''''''''目''''''''''''''''''标'''''''''''''''''''">
              <a:rPr lang="zh-CN" altLang="en-US" smtClean="0">
                <a:latin typeface="+mn-lt"/>
                <a:cs typeface="+mn-cs"/>
              </a:rPr>
              <a:pPr/>
              <a:t>非目标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4" name="Text Placeholder 3">
            <a:extLst>
              <a:ext uri="{FF2B5EF4-FFF2-40B4-BE49-F238E27FC236}">
                <a16:creationId xmlns:a16="http://schemas.microsoft.com/office/drawing/2014/main" id="{266BEFE0-2BAE-FE9D-74EC-BB45B975B5A4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421063" y="2779713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AD0EB48-FCC6-4D6A-945B-C6A9F30BA593}" type="datetime'电商''''业''''''''''务''团''''''''''''''''''''''''''队'''''">
              <a:rPr lang="zh-CN" altLang="en-US" smtClean="0">
                <a:latin typeface="+mn-lt"/>
                <a:cs typeface="+mn-cs"/>
              </a:rPr>
              <a:pPr/>
              <a:t>电商业务团队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6" name="Text Placeholder 3">
            <a:extLst>
              <a:ext uri="{FF2B5EF4-FFF2-40B4-BE49-F238E27FC236}">
                <a16:creationId xmlns:a16="http://schemas.microsoft.com/office/drawing/2014/main" id="{A61E0BF6-F585-DE2F-B5B8-7293EEC9963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3421063" y="3032126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17B4E9C-5462-452E-BFDD-C4B7FC05BC5A}" type="datetime'''''''''''''''''''新''''''''''''''兴''''''''''产''品''团''队'''">
              <a:rPr lang="zh-CN" altLang="en-US" smtClean="0">
                <a:latin typeface="+mn-lt"/>
                <a:cs typeface="+mn-cs"/>
              </a:rPr>
              <a:pPr/>
              <a:t>新兴产品团队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7" name="Text Placeholder 3">
            <a:extLst>
              <a:ext uri="{FF2B5EF4-FFF2-40B4-BE49-F238E27FC236}">
                <a16:creationId xmlns:a16="http://schemas.microsoft.com/office/drawing/2014/main" id="{A0B501F8-03F1-0A38-EA9D-A17C6A0A335B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421063" y="3284538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9EA1764-3F66-4837-957F-9F9FE1887649}" type="datetime'类''''''消''''费''''''''''''品''''''团''''''''队'''''''''''">
              <a:rPr lang="zh-CN" altLang="en-US" smtClean="0">
                <a:latin typeface="+mn-lt"/>
                <a:cs typeface="+mn-cs"/>
              </a:rPr>
              <a:pPr/>
              <a:t>类消费品团队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8" name="Text Placeholder 3">
            <a:extLst>
              <a:ext uri="{FF2B5EF4-FFF2-40B4-BE49-F238E27FC236}">
                <a16:creationId xmlns:a16="http://schemas.microsoft.com/office/drawing/2014/main" id="{1915A7A8-2846-7EDC-0E54-BF7262428E4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421063" y="3536951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995D827-A147-4E93-86AE-6CCC131B292A}" type="datetime'''全''''''''''''''''''渠''''''''''道''业务''''''''团''''队'''''''''">
              <a:rPr lang="zh-CN" altLang="en-US" smtClean="0">
                <a:latin typeface="+mn-lt"/>
                <a:cs typeface="+mn-cs"/>
              </a:rPr>
              <a:pPr/>
              <a:t>全渠道业务团队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4A103377-C801-2B61-AF0A-2BF9A7099C61}"/>
              </a:ext>
            </a:extLst>
          </p:cNvPr>
          <p:cNvSpPr/>
          <p:nvPr/>
        </p:nvSpPr>
        <p:spPr>
          <a:xfrm>
            <a:off x="5143500" y="2126179"/>
            <a:ext cx="12001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/T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10YTD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ACC49587-17C7-53E2-2433-687864B39EE6}"/>
              </a:ext>
            </a:extLst>
          </p:cNvPr>
          <p:cNvSpPr/>
          <p:nvPr/>
        </p:nvSpPr>
        <p:spPr>
          <a:xfrm>
            <a:off x="10153650" y="2126179"/>
            <a:ext cx="12001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比增长率</a:t>
            </a:r>
            <a:endParaRPr lang="en-US" altLang="zh-CN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10YTD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B0118694-CC71-4015-7662-0E2E6C66C639}"/>
              </a:ext>
            </a:extLst>
          </p:cNvPr>
          <p:cNvSpPr/>
          <p:nvPr/>
        </p:nvSpPr>
        <p:spPr>
          <a:xfrm>
            <a:off x="10991850" y="2126179"/>
            <a:ext cx="12001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/T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10YTD</a:t>
            </a:r>
          </a:p>
        </p:txBody>
      </p:sp>
    </p:spTree>
    <p:extLst>
      <p:ext uri="{BB962C8B-B14F-4D97-AF65-F5344CB8AC3E}">
        <p14:creationId xmlns:p14="http://schemas.microsoft.com/office/powerpoint/2010/main" val="3829580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598302-61A1-0DD0-08CE-BC0D60C891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E81C663-9DB5-FBD4-6B79-7CD9480F88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985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8" imgW="473" imgH="476" progId="TCLayout.ActiveDocument.1">
                  <p:embed/>
                </p:oleObj>
              </mc:Choice>
              <mc:Fallback>
                <p:oleObj name="think-cell 幻灯片" r:id="rId58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81C663-9DB5-FBD4-6B79-7CD9480F88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矩形 51">
            <a:extLst>
              <a:ext uri="{FF2B5EF4-FFF2-40B4-BE49-F238E27FC236}">
                <a16:creationId xmlns:a16="http://schemas.microsoft.com/office/drawing/2014/main" id="{86DD79CF-CE1D-C9D6-A7EA-2DED078E288D}"/>
              </a:ext>
            </a:extLst>
          </p:cNvPr>
          <p:cNvSpPr/>
          <p:nvPr/>
        </p:nvSpPr>
        <p:spPr>
          <a:xfrm>
            <a:off x="0" y="6286499"/>
            <a:ext cx="12188952" cy="50049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529D6169-4D5A-5AE8-7E70-B61C46E90E24}"/>
              </a:ext>
            </a:extLst>
          </p:cNvPr>
          <p:cNvSpPr/>
          <p:nvPr/>
        </p:nvSpPr>
        <p:spPr>
          <a:xfrm>
            <a:off x="6362701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55F07485-D2D8-49AA-9911-C6A4DFD0EB00}"/>
              </a:ext>
            </a:extLst>
          </p:cNvPr>
          <p:cNvSpPr/>
          <p:nvPr/>
        </p:nvSpPr>
        <p:spPr>
          <a:xfrm>
            <a:off x="8532814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0E43A164-0C61-6CC6-7BE5-B2B0652DACA3}"/>
              </a:ext>
            </a:extLst>
          </p:cNvPr>
          <p:cNvSpPr/>
          <p:nvPr/>
        </p:nvSpPr>
        <p:spPr>
          <a:xfrm>
            <a:off x="10709275" y="1355726"/>
            <a:ext cx="98742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965C08AB-35C9-9D09-F887-06754399F298}"/>
              </a:ext>
            </a:extLst>
          </p:cNvPr>
          <p:cNvSpPr/>
          <p:nvPr/>
        </p:nvSpPr>
        <p:spPr>
          <a:xfrm>
            <a:off x="2003426" y="1355726"/>
            <a:ext cx="428307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25AEF0F-A188-A557-9F92-FCEC30176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381126"/>
          </a:xfrm>
        </p:spPr>
        <p:txBody>
          <a:bodyPr vert="horz"/>
          <a:lstStyle/>
          <a:p>
            <a:r>
              <a:rPr lang="zh-CN" altLang="en-US" sz="2000" b="1" dirty="0"/>
              <a:t>量价分析：</a:t>
            </a:r>
            <a:r>
              <a:rPr lang="zh-CN" altLang="en-US" sz="2000" dirty="0"/>
              <a:t>将净销售额的增长拆解为量和价的变化的贡献，其中量的变化包括总盒数和不同价格大小包装</a:t>
            </a:r>
            <a:r>
              <a:rPr lang="en-US" altLang="zh-CN" sz="2000" dirty="0"/>
              <a:t>Mix</a:t>
            </a:r>
            <a:r>
              <a:rPr lang="zh-CN" altLang="en-US" sz="2000" dirty="0"/>
              <a:t>变化的影响，价的变化包括毛销价和投资费比变化的影响</a:t>
            </a:r>
            <a:br>
              <a:rPr lang="en-US" altLang="zh-CN" sz="2000" dirty="0"/>
            </a:br>
            <a:r>
              <a:rPr lang="zh-CN" altLang="en-US" sz="2000" dirty="0"/>
              <a:t>立普妥净销售额增长主要来自量的增长，平均净价变化不大。投资费比下降主要来自两部分：</a:t>
            </a:r>
            <a:r>
              <a:rPr lang="en-US" altLang="zh-CN" sz="2000" dirty="0"/>
              <a:t>1</a:t>
            </a:r>
            <a:r>
              <a:rPr lang="zh-CN" altLang="en-US" sz="2000" dirty="0"/>
              <a:t>）今年撤掉原广阔市场投资，</a:t>
            </a:r>
            <a:r>
              <a:rPr lang="en-US" altLang="zh-CN" sz="2000" dirty="0"/>
              <a:t>2</a:t>
            </a:r>
            <a:r>
              <a:rPr lang="zh-CN" altLang="en-US" sz="2000" dirty="0"/>
              <a:t>）对中标价下调的补偿转为下调毛销价</a:t>
            </a:r>
            <a:endParaRPr lang="en-US" sz="2000" dirty="0"/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4534B96B-2614-E7A9-C620-EF11D883364C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2851150" y="26066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25EB9732-E67B-C248-6AD8-D00470CCB04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768475" y="342582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F86E53D6-2D3D-0252-C947-8E8E7CC1703D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932238" y="27082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40171344-2F18-5419-BB3E-AFE0C7DE17B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014913" y="2398713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E0D3C553-FAAA-0C49-9E66-A8564F1F271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096000" y="2444750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7C84072E-7101-5ADA-AA75-2DCFE4F24AB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178675" y="210343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4E84099C-3E02-95BA-27AA-5178282C4813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261350" y="210502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E05252FB-02CB-9693-9BCB-8CBF95CA6E93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342438" y="250983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47CA4F17-2C06-D4E5-8E7A-5108161F01B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425113" y="24161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2" name="矩形 121">
            <a:extLst>
              <a:ext uri="{FF2B5EF4-FFF2-40B4-BE49-F238E27FC236}">
                <a16:creationId xmlns:a16="http://schemas.microsoft.com/office/drawing/2014/main" id="{03E99C6E-7AEF-4D74-9DDC-282257EF8E8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659688" y="2100263"/>
            <a:ext cx="601663" cy="79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graphicFrame>
        <p:nvGraphicFramePr>
          <p:cNvPr id="61" name="Chart 3">
            <a:extLst>
              <a:ext uri="{FF2B5EF4-FFF2-40B4-BE49-F238E27FC236}">
                <a16:creationId xmlns:a16="http://schemas.microsoft.com/office/drawing/2014/main" id="{11FC952D-283A-7B65-A0A2-E286FD5D6CFF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51351664"/>
              </p:ext>
            </p:extLst>
          </p:nvPr>
        </p:nvGraphicFramePr>
        <p:xfrm>
          <a:off x="844550" y="1355725"/>
          <a:ext cx="10985500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DD94722-AD7E-E114-A3B2-DE7CF1823F6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402138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119883-58B8-4DA8-9AD6-222F390AB832}" type="datetime'''''''量''''''''''的''''''''''变''''''化''&#10;零''''''''售'''''''">
              <a:rPr lang="zh-CN" altLang="en-US" smtClean="0">
                <a:latin typeface="+mn-lt"/>
                <a:cs typeface="+mn-cs"/>
              </a:rPr>
              <a:pPr/>
              <a:t>量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1121563-BD42-64A3-745F-C8F00D80AFF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688013" y="240347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251EF83-C8E1-4C12-B21C-C74A76B899C5}" type="datetime'''7''''''''''''''0'''''''''''''''''''''''''''''''''">
              <a:rPr lang="en-US" altLang="en-US" smtClean="0">
                <a:latin typeface="+mn-lt"/>
                <a:cs typeface="+mn-cs"/>
              </a:rPr>
              <a:pPr/>
              <a:t>7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038E65C-294B-820D-D280-E5926F289D1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688013" y="221615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1F5DD3-B3D2-4F2B-9658-FBA58DC3F139}" type="datetime'''''55''''''''''''''''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5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3FD90C-EFB1-20AA-091F-952CC2FD073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8322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7468FA-BD6E-40CB-9734-5E98917232F2}" type="datetime'''''''''''''''价''''''''''''的变''''化''''''&#10;零售'''''''''''''''''''">
              <a:rPr lang="zh-CN" altLang="en-US" smtClean="0">
                <a:latin typeface="+mn-lt"/>
                <a:cs typeface="+mn-cs"/>
              </a:rPr>
              <a:pPr/>
              <a:t>价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B5F13B52-F4F0-2A19-1E4F-BCEF2A5F9B2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729413" y="2138363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3EEA8C-F525-4B57-B0F3-B3DA415B9ECC}" type="datetime'''''''''''''''1''''3''''''''''''9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3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96" name="Text Placeholder 3">
            <a:extLst>
              <a:ext uri="{FF2B5EF4-FFF2-40B4-BE49-F238E27FC236}">
                <a16:creationId xmlns:a16="http://schemas.microsoft.com/office/drawing/2014/main" id="{21D065E4-18E5-55EC-CD73-6D9C12A4394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770688" y="2381250"/>
            <a:ext cx="212725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DB58AE5-DE67-441F-8C04-132B0665B748}" type="datetime'''''2''''4'''''''''''''''''''''''''''''''''''''''''''''''''''">
              <a:rPr lang="en-US" altLang="en-US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9B598D-1A8D-8A28-3F8A-77C2CCD4E69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565900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1BED9F5-F958-45A2-BD6E-5B964E55922E}" type="datetime'''量''''''''的''''''''''''''''''''变''''化''''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F4C3979E-DC1D-C357-5278-9D5FF15DF2F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747000" y="2005013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F4BB707-2D3B-4432-A999-9390BB59A761}" type="datetime'''''''2'''''''''''''''''">
              <a:rPr lang="en-US" altLang="en-US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7BF8D50-56E3-FDD3-C683-3DD323BBC5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648575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E7F943-2F2C-44D3-9C9C-90409C451B5B}" type="datetime'价''''''''''''''''''''''''''''''''''''''''的''变化''''''''''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6829D84E-CDED-641B-CC0E-E66F0E76008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893175" y="221138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52624E6-8108-489A-BEEA-74BE3306FECE}" type="datetime'''''''''''''''''''''''1''''''''''''''''''''3''9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3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A39353FD-130E-4BD2-D00F-C2D920172FC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977313" y="2000250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5C3A59-08EE-4F9C-A96D-461BD2289D12}" type="datetime'''''''''''''''''''''''3'''''''''''''''''''">
              <a:rPr lang="en-US" altLang="en-US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28CA2BC2-B5BF-82AC-754C-39E25165DB2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729663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3D0E433-5C19-4E3B-893E-728B20B2744E}" type="datetime'''''量''''''''''''''''''''''''的''''''''''变''''''''''''''化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24A1FFE6-8D96-4E15-B7C9-E9A3BFDDDD5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047038" y="2001838"/>
            <a:ext cx="128588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1CA732C-C920-44D0-B1E8-EDA8EE3FEFA6}" type="datetime'''''''''''1''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52B366F1-B509-A1EB-B02B-6769F6A27CD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167938" y="2336800"/>
            <a:ext cx="212725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079790-86C6-4D13-95CC-8B64D1C79A17}" type="datetime'''''''4''''''''''''''''9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6C90454B-E668-FC76-4B98-9A61B6B1659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812338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EE87B2-F9AC-4B8F-B59E-E7D277A0E1BB}" type="datetime'''''''''''''''''价''''''''的变''''''''''''''''''''''''化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522D9FBB-BB58-316D-8D19-214726CB035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877550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CC4B59-A444-4F5A-AE88-6C520843F99B}" type="datetime'25''''''''''''1''''''0''''''''''Y''''''''''T''''''''''D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C4A56-E311-E90E-8A29-B3D118A2692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39825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206B88-16D9-487B-AB59-4E8A639C81ED}" type="datetime'2''''4''''''1''''''0''''Y''''''''''''''''''''''T''''D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039F5F12-257E-7850-16FB-5A2198BFBA0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867900" y="2435225"/>
            <a:ext cx="212725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61EE36B-FEE4-4E5A-98FA-D82D40BCC5A9}" type="datetime'''''''''''1''''''''''''''''''''''7'''''''''''">
              <a:rPr lang="en-US" altLang="en-US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134F5522-800A-525F-4B1B-2B04B0033C3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401888" y="290830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A9316C-0937-49E4-A0B0-359E486F629D}" type="datetime'''2''''''''7''''''''''''''''''''''''''''''''''''''''''''''''1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7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2E0CBEE1-4736-4D1C-2820-0BE163CA25C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486025" y="3317875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5CC40E-8528-4436-9B2F-43E9B592FED1}" type="datetime'''''5'''''''''''''''''''''''''''''''''">
              <a:rPr lang="en-US" altLang="en-US" smtClean="0">
                <a:effectLst/>
                <a:latin typeface="+mn-lt"/>
                <a:cs typeface="+mn-cs"/>
              </a:rPr>
              <a:pPr/>
              <a:t>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C601F02-2A68-F1C2-3008-83BA2D842C0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23837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07A134-7CCD-4CC5-A74C-40C45DFCDCCA}" type="datetime'量''的''''''''''''''''''''''''''''''''变''化''&#10;''''''''医院'''">
              <a:rPr lang="zh-CN" altLang="en-US" smtClean="0">
                <a:latin typeface="+mn-lt"/>
                <a:cs typeface="+mn-cs"/>
              </a:rPr>
              <a:pPr/>
              <a:t>量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E006FFB-3945-CFD4-5017-B6E732B419F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482975" y="3141663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E84204-5303-4F1C-8F02-9AA078BCC8C2}" type="datetime'''''''''''''''''''''''''''''''''42''''''''''''''7'''''">
              <a:rPr lang="en-US" altLang="en-US" smtClean="0">
                <a:latin typeface="+mn-lt"/>
                <a:cs typeface="+mn-cs"/>
              </a:rPr>
              <a:pPr/>
              <a:t>42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2DDFDC7-05F0-FB01-BB82-25BBEBBDAAC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482975" y="1922463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D1EE237-C517-4D50-A9DA-9F664710A663}" type="datetime'''''3''''''''''''9''''''''''3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93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F20AAF8-379C-D37E-F24E-0525047BDC6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319463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1173F9-FCD6-4C13-919A-BD428952E76D}" type="datetime'''''价''''的''''''''''''变''化''''''''''''''&#10;医''''''院'">
              <a:rPr lang="zh-CN" altLang="en-US" smtClean="0">
                <a:latin typeface="+mn-lt"/>
                <a:cs typeface="+mn-cs"/>
              </a:rPr>
              <a:pPr/>
              <a:t>价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4D7BB68-3C8C-15C5-F184-18CA62D4BD4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565650" y="233203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32A172-F980-45DB-8FC5-12EBC69074E3}" type="datetime'''''''''''''''''''''''''''''''''''''''''''''''''''''1''85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8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CD87637-821F-D8CA-909E-4AA2C6FB9C5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606925" y="272732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AA5392C-4C7D-41FC-A669-A86ABD0373D7}" type="datetime'''''''8''''''''''''''''''''''''''''''''''''''''1'''''">
              <a:rPr lang="en-US" altLang="en-US" smtClean="0">
                <a:effectLst/>
                <a:latin typeface="+mn-lt"/>
                <a:cs typeface="+mn-cs"/>
              </a:rPr>
              <a:pPr/>
              <a:t>8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963019A-4848-DBDD-09A9-BE1F3B4BDE0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401888" y="2379663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AAC0EF-ED49-432E-831A-B3C813A5E152}" type="datetime'''''''''''''''''''''''''''''''''''''''''''''2''''76'''''''''''">
              <a:rPr lang="en-US" altLang="en-US" smtClean="0">
                <a:latin typeface="+mn-lt"/>
                <a:cs typeface="+mn-cs"/>
              </a:rPr>
              <a:pPr/>
              <a:t>27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BB47AF4-D0DE-C98B-9606-2C5242F951C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498850" y="3902075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FB2FDBB-BC55-4F93-9A24-9FB0D2D279EE}" type="datetime'''''''''''''''''''''''-''''''''''''3''''''''''''''4'''''''''">
              <a:rPr lang="en-US" altLang="en-US" smtClean="0">
                <a:latin typeface="+mn-lt"/>
                <a:cs typeface="+mn-cs"/>
              </a:rPr>
              <a:pPr/>
              <a:t>-3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4850864-58DA-7AB8-4291-66CE43897D1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565650" y="193040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BE62DA-1C7C-4DEA-9179-579B1E2E79CB}" type="datetime'''''''''1''''''''''''''0''''''''''''''''''''4'''''''''''">
              <a:rPr lang="en-US" altLang="en-US" smtClean="0">
                <a:latin typeface="+mn-lt"/>
                <a:cs typeface="+mn-cs"/>
              </a:rPr>
              <a:pPr/>
              <a:t>10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B876B99-1AB0-0849-76D2-4265D99FAD9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662613" y="2633663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62446F1-C435-4ADE-982F-94DD1A934819}" type="datetime'''''-''''''''''''1''''''''''''''''''''6'">
              <a:rPr lang="en-US" altLang="en-US" smtClean="0">
                <a:latin typeface="+mn-lt"/>
                <a:cs typeface="+mn-cs"/>
              </a:rPr>
              <a:pPr/>
              <a:t>-1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3D1D9D56-4EC8-A22E-D468-50F0970298B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255713" y="3198813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DEF17E-AD90-4BAE-81C2-C125FF54D8CA}" type="datetime'''''''5'''''''',''5''''5''''''''1'''''''''''''''''">
              <a:rPr lang="en-US" altLang="en-US" smtClean="0">
                <a:latin typeface="+mn-lt"/>
                <a:cs typeface="+mn-cs"/>
              </a:rPr>
              <a:pPr/>
              <a:t>5,55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9" name="Text Placeholder 3">
            <a:extLst>
              <a:ext uri="{FF2B5EF4-FFF2-40B4-BE49-F238E27FC236}">
                <a16:creationId xmlns:a16="http://schemas.microsoft.com/office/drawing/2014/main" id="{1B60522C-4EE1-C6B3-6961-F53AC81F1E4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870825" y="2206625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D2F02C-7BD8-4BAB-990E-E670DF14AC13}" type="datetime'''''''''-''''''1'''''''''''">
              <a:rPr lang="en-US" altLang="en-US" smtClean="0">
                <a:latin typeface="+mn-lt"/>
                <a:cs typeface="+mn-cs"/>
              </a:rPr>
              <a:pPr/>
              <a:t>-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F04DAA5B-105D-2D81-B966-008575863DA2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867775" y="254476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A0F1400-8333-4F95-837D-03F43FA72184}" type="datetime'''''''''''''''''''''-''''''''''''''''1''''''''''''''36'''">
              <a:rPr lang="en-US" altLang="en-US" smtClean="0">
                <a:latin typeface="+mn-lt"/>
                <a:cs typeface="+mn-cs"/>
              </a:rPr>
              <a:pPr/>
              <a:t>-13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6E01674C-187D-802D-33E0-DBA25D3A74B1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017125" y="21351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CFC1F5-399A-415F-A105-1B7708E586BA}" type="datetime'''''''''''''''''''''''''''''''''''''''''''''''''3''''''2'''">
              <a:rPr lang="en-US" altLang="en-US" smtClean="0">
                <a:latin typeface="+mn-lt"/>
                <a:cs typeface="+mn-cs"/>
              </a:rPr>
              <a:pPr/>
              <a:t>3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10493DA9-A7C0-7A79-B80C-06510CD31FBC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0993438" y="2189163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1BEB49-9589-4A9F-B1EB-66E988B6E8DE}" type="datetime'''''''''''''''''''''''''''''''''5'',''''''89''''''''1'''''''">
              <a:rPr lang="en-US" altLang="en-US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,89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2827FC0-9656-B97A-CC7F-6299AB75CFF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734175" y="1804988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5E8FCD1-189A-483F-9721-C1D4B8405525}" type="datetime'''1''''''''''''''''''''''''''''''''''''''''1''''''''5'''''''">
              <a:rPr lang="en-US" altLang="en-US" smtClean="0">
                <a:latin typeface="+mn-lt"/>
                <a:cs typeface="+mn-cs"/>
              </a:rPr>
              <a:pPr/>
              <a:t>11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835E8DBD-1374-796E-629B-0D430EEB2AF5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6551613" y="35306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D0A01F52-8E9F-23A3-8EE6-64DEF879542C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6551613" y="3783013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C6F98829-DF4B-60A0-A708-F248DBBAEF80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8069263" y="3530600"/>
            <a:ext cx="214313" cy="160338"/>
          </a:xfrm>
          <a:prstGeom prst="rect">
            <a:avLst/>
          </a:prstGeom>
          <a:solidFill>
            <a:srgbClr val="CF8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3D6149BD-E7A4-D497-728B-2EE891EAC5B5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8069263" y="3783013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BA009F32-E119-5715-5F25-15AC64D221F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816725" y="35115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987A744-B9C7-4ADC-89F2-2694A9E4BC65}" type="datetime'''''''''''''''''''''''盒''''''数''''''''''变''化''''''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盒数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1" name="Text Placeholder 3">
            <a:extLst>
              <a:ext uri="{FF2B5EF4-FFF2-40B4-BE49-F238E27FC236}">
                <a16:creationId xmlns:a16="http://schemas.microsoft.com/office/drawing/2014/main" id="{94F72F5D-1932-C98A-1615-F0B7F407AAE7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816725" y="3763963"/>
            <a:ext cx="11509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7F326FA-C325-459E-AA8E-6FCD834E2C6B}" type="datetime'''''大''小''''''''包装''''Mi''''''''''''x变''''''''''''化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大小包装Mix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B9CBB5DB-A91F-5CCD-6746-3BA52FA7058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334375" y="3511550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E8774AD-DC20-4181-ABBD-789867043762}" type="datetime'''毛''''销''''价''''''''''''''''''''''''''变''''''''''''''化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毛销价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3" name="Text Placeholder 3">
            <a:extLst>
              <a:ext uri="{FF2B5EF4-FFF2-40B4-BE49-F238E27FC236}">
                <a16:creationId xmlns:a16="http://schemas.microsoft.com/office/drawing/2014/main" id="{03CFB7AB-735E-CE8E-8894-842403C3773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334375" y="3763963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175E08D-2553-482D-9F9B-6DD951967DC4}" type="datetime'''''''''''''''''投''''''''''''''''资''''''费''''''比''''变''化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投资费比变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98" name="表格 197">
            <a:extLst>
              <a:ext uri="{FF2B5EF4-FFF2-40B4-BE49-F238E27FC236}">
                <a16:creationId xmlns:a16="http://schemas.microsoft.com/office/drawing/2014/main" id="{F7A98337-A579-E109-A2D9-D492192C8C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590509"/>
              </p:ext>
            </p:extLst>
          </p:nvPr>
        </p:nvGraphicFramePr>
        <p:xfrm>
          <a:off x="436563" y="4874922"/>
          <a:ext cx="11268076" cy="179918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4011">
                  <a:extLst>
                    <a:ext uri="{9D8B030D-6E8A-4147-A177-3AD203B41FA5}">
                      <a16:colId xmlns:a16="http://schemas.microsoft.com/office/drawing/2014/main" val="3386589841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375741987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783527129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2796655829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719064974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1771936087"/>
                    </a:ext>
                  </a:extLst>
                </a:gridCol>
                <a:gridCol w="1044007">
                  <a:extLst>
                    <a:ext uri="{9D8B030D-6E8A-4147-A177-3AD203B41FA5}">
                      <a16:colId xmlns:a16="http://schemas.microsoft.com/office/drawing/2014/main" val="1025955063"/>
                    </a:ext>
                  </a:extLst>
                </a:gridCol>
              </a:tblGrid>
              <a:tr h="24743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 </a:t>
                      </a:r>
                      <a:r>
                        <a:rPr lang="zh-CN" alt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团队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团队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目标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4454434"/>
                  </a:ext>
                </a:extLst>
              </a:tr>
              <a:tr h="247438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</a:t>
                      </a:r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院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售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72701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8.2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8.2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1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607538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量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4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8.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9.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211610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6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6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21716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4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9.0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9.8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9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7876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3324204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盒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5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3.0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0.9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3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298017"/>
                  </a:ext>
                </a:extLst>
              </a:tr>
            </a:tbl>
          </a:graphicData>
        </a:graphic>
      </p:graphicFrame>
      <p:sp>
        <p:nvSpPr>
          <p:cNvPr id="204" name="矩形 203">
            <a:extLst>
              <a:ext uri="{FF2B5EF4-FFF2-40B4-BE49-F238E27FC236}">
                <a16:creationId xmlns:a16="http://schemas.microsoft.com/office/drawing/2014/main" id="{E5227704-8CEA-435B-BE82-B61FF2B57A38}"/>
              </a:ext>
            </a:extLst>
          </p:cNvPr>
          <p:cNvSpPr/>
          <p:nvPr/>
        </p:nvSpPr>
        <p:spPr>
          <a:xfrm>
            <a:off x="0" y="1356011"/>
            <a:ext cx="1962035" cy="500494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立普妥 净销售额</a:t>
            </a:r>
            <a:r>
              <a:rPr lang="en-US" altLang="zh-CN" sz="1200" b="1" dirty="0">
                <a:solidFill>
                  <a:schemeClr val="bg1"/>
                </a:solidFill>
              </a:rPr>
              <a:t>20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14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8908C-BCA3-225A-1054-29EF6E9CCA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281C077-2605-6F00-5029-A3BB5A56E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30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7" imgW="473" imgH="476" progId="TCLayout.ActiveDocument.1">
                  <p:embed/>
                </p:oleObj>
              </mc:Choice>
              <mc:Fallback>
                <p:oleObj name="think-cell 幻灯片" r:id="rId57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81C077-2605-6F00-5029-A3BB5A56E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矩形 51">
            <a:extLst>
              <a:ext uri="{FF2B5EF4-FFF2-40B4-BE49-F238E27FC236}">
                <a16:creationId xmlns:a16="http://schemas.microsoft.com/office/drawing/2014/main" id="{2D0F9848-5EE5-30DE-59EF-8CAF76C4130E}"/>
              </a:ext>
            </a:extLst>
          </p:cNvPr>
          <p:cNvSpPr/>
          <p:nvPr/>
        </p:nvSpPr>
        <p:spPr>
          <a:xfrm>
            <a:off x="0" y="6286499"/>
            <a:ext cx="12188952" cy="50049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A440E514-0483-F03A-2E84-1D7800A267B4}"/>
              </a:ext>
            </a:extLst>
          </p:cNvPr>
          <p:cNvSpPr/>
          <p:nvPr/>
        </p:nvSpPr>
        <p:spPr>
          <a:xfrm>
            <a:off x="6362701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67C4E31F-8213-C571-D938-6CF5D2BEFC1D}"/>
              </a:ext>
            </a:extLst>
          </p:cNvPr>
          <p:cNvSpPr/>
          <p:nvPr/>
        </p:nvSpPr>
        <p:spPr>
          <a:xfrm>
            <a:off x="8532814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FDF958E5-BC6D-723B-4043-148949C15472}"/>
              </a:ext>
            </a:extLst>
          </p:cNvPr>
          <p:cNvSpPr/>
          <p:nvPr/>
        </p:nvSpPr>
        <p:spPr>
          <a:xfrm>
            <a:off x="10709275" y="1355726"/>
            <a:ext cx="98742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F7582637-83EE-1915-8B65-D3AE91E3C964}"/>
              </a:ext>
            </a:extLst>
          </p:cNvPr>
          <p:cNvSpPr/>
          <p:nvPr/>
        </p:nvSpPr>
        <p:spPr>
          <a:xfrm>
            <a:off x="2003426" y="1355726"/>
            <a:ext cx="428307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C3A8BB8-3EBD-0585-6768-E5075687A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381126"/>
          </a:xfrm>
        </p:spPr>
        <p:txBody>
          <a:bodyPr vert="horz"/>
          <a:lstStyle/>
          <a:p>
            <a:r>
              <a:rPr lang="zh-CN" altLang="en-US" sz="2000" dirty="0"/>
              <a:t>与立普妥类似，络活喜净销售额增长也主要来自量的增长，平均净价变化不大</a:t>
            </a:r>
            <a:br>
              <a:rPr lang="en-US" altLang="zh-CN" sz="2000" dirty="0"/>
            </a:br>
            <a:r>
              <a:rPr lang="zh-CN" altLang="en-US" sz="2000" dirty="0"/>
              <a:t>零售盒数增长率显著高于量的变化的增长贡献，主要由于</a:t>
            </a:r>
            <a:r>
              <a:rPr lang="en-US" altLang="zh-CN" sz="2000" dirty="0"/>
              <a:t>5mg*7</a:t>
            </a:r>
            <a:r>
              <a:rPr lang="zh-CN" altLang="en-US" sz="2000" dirty="0"/>
              <a:t>小包装在增长而</a:t>
            </a:r>
            <a:r>
              <a:rPr lang="en-US" altLang="zh-CN" sz="2000" dirty="0"/>
              <a:t>5mg*28</a:t>
            </a:r>
            <a:r>
              <a:rPr lang="zh-CN" altLang="en-US" sz="2000" dirty="0"/>
              <a:t>大包装在下跌（</a:t>
            </a:r>
            <a:r>
              <a:rPr lang="en-US" altLang="zh-CN" sz="2000" dirty="0"/>
              <a:t>10.7% vs -2.1%</a:t>
            </a:r>
            <a:r>
              <a:rPr lang="zh-CN" altLang="en-US" sz="2000" dirty="0"/>
              <a:t>），品规</a:t>
            </a:r>
            <a:r>
              <a:rPr lang="en-US" altLang="zh-CN" sz="2000" dirty="0"/>
              <a:t>Mix</a:t>
            </a:r>
            <a:r>
              <a:rPr lang="zh-CN" altLang="en-US" sz="2000" dirty="0"/>
              <a:t>发生变化</a:t>
            </a:r>
            <a:endParaRPr lang="en-US" sz="2000" dirty="0"/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701AF455-C86B-5B08-18C0-2DEDF7B70A44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932238" y="27463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82E67D93-8A61-7505-00B1-02FD9867D1A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768475" y="3581400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3B26C26E-C669-7BA6-A7B3-BA17D0F0B1A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851150" y="2647950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8F826BF2-6246-D6E2-97E5-8A78812522A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014913" y="2660650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1DFEBAD7-F25E-F3E0-6E05-36BF04AEF43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096000" y="268922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A40519D6-8887-84C1-E230-44192E995027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178675" y="22891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BB97F1CE-7AE5-94C2-C1A6-F843E23B809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261350" y="230663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F42F1E05-26C0-F794-F664-A75003F73D01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342438" y="275748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0B7C50EC-829E-5264-67A4-3166EA896BC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425113" y="263048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9060CA51-B709-FB85-569E-BBA274467940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2897828"/>
              </p:ext>
            </p:extLst>
          </p:nvPr>
        </p:nvGraphicFramePr>
        <p:xfrm>
          <a:off x="844550" y="1355725"/>
          <a:ext cx="10985500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CF0807B-9091-66F8-32F5-065ABC89D51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402138" y="4233863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119883-58B8-4DA8-9AD6-222F390AB832}" type="datetime'''''''量''''''''''的''''''''''变''''''化''&#10;零''''''''售'''''''">
              <a:rPr lang="zh-CN" altLang="en-US" smtClean="0">
                <a:latin typeface="+mn-lt"/>
                <a:cs typeface="+mn-cs"/>
              </a:rPr>
              <a:pPr/>
              <a:t>量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6578DE9-6ED3-6F5A-F7BA-717947BED48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688013" y="268287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88565FF-9A69-4C6B-9800-6279BEA63393}" type="datetime'''3''''''''''''''''''''''''''''''''''1'">
              <a:rPr lang="en-US" altLang="en-US" smtClean="0">
                <a:latin typeface="+mn-lt"/>
                <a:cs typeface="+mn-cs"/>
              </a:rPr>
              <a:pPr/>
              <a:t>3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26E350A-E873-F703-8F30-47270B6D024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688013" y="24526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337C4A-556B-4966-A697-1E4D6DFBE1D8}" type="datetime'''''''''''''''''''''2''''8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2615113-734F-F8FD-FA80-B4034067B52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483225" y="4233863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7468FA-BD6E-40CB-9734-5E98917232F2}" type="datetime'''''''''''''''价''''''''''''的变''''化''''''&#10;零售'''''''''''''''''''">
              <a:rPr lang="zh-CN" altLang="en-US" smtClean="0">
                <a:latin typeface="+mn-lt"/>
                <a:cs typeface="+mn-cs"/>
              </a:rPr>
              <a:pPr/>
              <a:t>价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9A56840B-FF2C-D3C1-D94B-C409B70F352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770688" y="234315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191523-93EF-4BE1-A6DA-A2E21B18D7EC}" type="datetime'''''''''''''''''''''6''''''3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3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96" name="Text Placeholder 3">
            <a:extLst>
              <a:ext uri="{FF2B5EF4-FFF2-40B4-BE49-F238E27FC236}">
                <a16:creationId xmlns:a16="http://schemas.microsoft.com/office/drawing/2014/main" id="{4FC164C6-58A7-A605-B6F5-F117BFEB748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770688" y="2635250"/>
            <a:ext cx="212725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D612D0-887D-4AC9-9C8A-61FF44155E7E}" type="datetime'''''1''''''2'''''''''''''''''''''''''">
              <a:rPr lang="en-US" altLang="en-US" smtClean="0">
                <a:effectLst/>
                <a:latin typeface="+mn-lt"/>
                <a:cs typeface="+mn-cs"/>
              </a:rPr>
              <a:pPr/>
              <a:t>1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A28105-11C5-BDCA-DF59-0D1F243A168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65900" y="4233863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1BED9F5-F958-45A2-BD6E-5B964E55922E}" type="datetime'''量''''''''的''''''''''''''''''''变''''化''''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891052DA-A579-6F3F-771A-E41AAD3C8E3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747000" y="2200275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2129E9A-7F63-458D-B27B-BF7612D63879}" type="datetime'''''''''''''''''''''''''''''''''3'''''''''''''''''">
              <a:rPr lang="en-US" altLang="en-US" smtClean="0">
                <a:effectLst/>
                <a:latin typeface="+mn-lt"/>
                <a:cs typeface="+mn-cs"/>
              </a:rPr>
              <a:pPr/>
              <a:t>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A593CB6D-8C80-1DEC-0468-620F83D6B71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047038" y="2185988"/>
            <a:ext cx="128588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1CA732C-C920-44D0-B1E8-EDA8EE3FEFA6}" type="datetime'''''''''''1''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71782E58-A952-31E1-8ABD-F62EBA4B678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934450" y="24431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EB32CB2-85E8-4C1F-BB23-E2AA73E94084}" type="datetime'''''''''''''''6''''''1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F732CD7-E3E0-3BD5-B802-3B4F1F94B43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977313" y="2193925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5C3A59-08EE-4F9C-A96D-461BD2289D12}" type="datetime'''''''''''''''''''''''3'''''''''''''''''''">
              <a:rPr lang="en-US" altLang="en-US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2C93D1CC-9434-2C2D-6CBE-D7CBE74386A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729663" y="4233863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3D0E433-5C19-4E3B-893E-728B20B2744E}" type="datetime'''''量''''''''''''''''''''''''的''''''''''变''''''''''''''化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F52BDE78-F74B-3D58-9E8B-55712A9F3F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910763" y="2689225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E857C7-2CBF-45D2-A07D-1CA43EC879A5}" type="datetime'''''''''''''''''8'''''''''''''''''''''''''''">
              <a:rPr lang="en-US" altLang="en-US" smtClean="0">
                <a:effectLst/>
                <a:latin typeface="+mn-lt"/>
                <a:cs typeface="+mn-cs"/>
              </a:rPr>
              <a:pPr/>
              <a:t>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CA4E950-CB0D-66DE-37AD-71A95B14872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648575" y="4233863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E7F943-2F2C-44D3-9C9C-90409C451B5B}" type="datetime'价''''''''''''''''''''''''''''''''''''''''的''变化''''''''''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737BAD63-428B-4A2E-2293-D5B7B484B59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812338" y="4233863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EE87B2-F9AC-4B8F-B59E-E7D277A0E1BB}" type="datetime'''''''''''''''''价''''''''的变''''''''''''''''''''''''化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ACEF0FE1-72E7-0EB8-6CC8-DC34EC5BA14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877550" y="4233863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CC4B59-A444-4F5A-AE88-6C520843F99B}" type="datetime'25''''''''''''1''''''0''''''''''Y''''''''''T''''''''''D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72373-41AB-ACDD-3005-A4A588501F0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39825" y="4233863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206B88-16D9-487B-AB59-4E8A639C81ED}" type="datetime'2''''4''''''1''''''0''''Y''''''''''''''''''''''T''''D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23085480-8950-8E7F-0DD8-5C5E4CC27DE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406650" y="3011488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6F94B48-0D45-4CF0-B6AA-E7A5C54727F2}" type="datetime'''''''''''''''''''''1''1''''''''''''''''''''9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D1C0FCBF-CB66-8894-D4F7-CBE8F036931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167938" y="256222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95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88F91F-E843-4AD5-88A5-D597422B5B0B}" type="datetime'''''''''''''''''''''''''''2''''4''''''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4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7DAEE334-AA5F-A413-8038-5AA0B69194E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486025" y="3478213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580F43-ADAA-4712-82D9-7A954501BFE5}" type="datetime'''''''1'''''''''''">
              <a:rPr lang="en-US" altLang="en-US" smtClean="0">
                <a:effectLst/>
                <a:latin typeface="+mn-lt"/>
                <a:cs typeface="+mn-cs"/>
              </a:rPr>
              <a:pPr/>
              <a:t>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AB8D05B-7C71-C1A0-58D6-CBC366CFFE9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238375" y="4233863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07A134-7CCD-4CC5-A74C-40C45DFCDCCA}" type="datetime'量''的''''''''''''''''''''''''''''''''变''化''&#10;''''''''医院'''">
              <a:rPr lang="zh-CN" altLang="en-US" smtClean="0">
                <a:latin typeface="+mn-lt"/>
                <a:cs typeface="+mn-cs"/>
              </a:rPr>
              <a:pPr/>
              <a:t>量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28C83AC-D46C-8C49-0101-250C654E641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482975" y="320198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8AB27D-693B-47F5-9BFE-A30DFFF5EA61}" type="datetime'''''''''''''''''''''1''''''''''''''6''''''''7'''''''''''''''''">
              <a:rPr lang="en-US" altLang="en-US" smtClean="0">
                <a:latin typeface="+mn-lt"/>
                <a:cs typeface="+mn-cs"/>
              </a:rPr>
              <a:pPr/>
              <a:t>16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2D6A438-4B51-A653-36CB-D8D43A62C72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482975" y="194310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B2AF927-9612-495D-A1A4-6137EA1ED7CC}" type="datetime'1''''5''''''''''''''''''''''''5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5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6A472B1-8880-B241-1F86-CC6849EA151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319463" y="4233863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1173F9-FCD6-4C13-919A-BD428952E76D}" type="datetime'''''价''''的''''''''''''变''化''''''''''''''&#10;医''''''院'">
              <a:rPr lang="zh-CN" altLang="en-US" smtClean="0">
                <a:latin typeface="+mn-lt"/>
                <a:cs typeface="+mn-cs"/>
              </a:rPr>
              <a:pPr/>
              <a:t>价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9C284B-AE82-C292-6FB1-443A2F6AE51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606925" y="234950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B7DE77A-73BD-4414-9C6D-7550B377457C}" type="datetime'''''''''''''''7''''''''''''''''''''''''''''''''''''''''''''6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6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12E9F23-3845-BF84-D9D1-5F5B2862028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606925" y="289877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B05EE8D-AD90-4DA6-8E41-49829207C1C8}" type="datetime'''''''''''''''''''''''6''''5'''''''''''''''''''''''''''">
              <a:rPr lang="en-US" altLang="en-US" smtClean="0">
                <a:latin typeface="+mn-lt"/>
                <a:cs typeface="+mn-cs"/>
              </a:rPr>
              <a:pPr/>
              <a:t>6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F066A0-86C0-2A15-9352-78D98AE0C67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406650" y="2420938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4522D32-9B13-4281-A450-E741EB1D768E}" type="datetime'''''''''1''''''''1''9'''''''''''''''''''''''''''''''''''''''">
              <a:rPr lang="en-US" altLang="en-US" smtClean="0">
                <a:latin typeface="+mn-lt"/>
                <a:cs typeface="+mn-cs"/>
              </a:rPr>
              <a:pPr/>
              <a:t>119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42045D9-BBA8-17DC-F090-237679670CB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498850" y="3981450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75A27C4-6A65-4AF2-877E-933C14318C02}" type="datetime'''''''''-1''''''3'''''''''''''''''''''''''''">
              <a:rPr lang="en-US" altLang="en-US" smtClean="0">
                <a:latin typeface="+mn-lt"/>
                <a:cs typeface="+mn-cs"/>
              </a:rPr>
              <a:pPr/>
              <a:t>-1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1B74854-CBD6-498A-798B-2EA34065578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613275" y="1927225"/>
            <a:ext cx="2016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1D78B5-C9CA-41A3-BA17-0F6CA4923468}" type="datetime'1''''''''''''''''''''''''''''''''''''''''''''''''''''''''1'">
              <a:rPr lang="en-US" altLang="en-US" smtClean="0">
                <a:latin typeface="+mn-lt"/>
                <a:cs typeface="+mn-cs"/>
              </a:rPr>
              <a:pPr/>
              <a:t>1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10352A0-C9D6-903C-D01D-86D55B93CDD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705475" y="2930525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5279AE-120C-446A-9E55-0B899A5FEA36}" type="datetime'''''''''''-''''''''''''''''''''''''''4'''''''''''">
              <a:rPr lang="en-US" altLang="en-US" smtClean="0">
                <a:latin typeface="+mn-lt"/>
                <a:cs typeface="+mn-cs"/>
              </a:rPr>
              <a:pPr/>
              <a:t>-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7044104F-B392-E687-8108-BE12D4B92EB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255713" y="3354388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CABDE5B-90B9-4577-BA87-53D59A5AB220}" type="datetime'''''2'''''''''',4''7''''''5'''''''">
              <a:rPr lang="en-US" altLang="en-US" smtClean="0">
                <a:latin typeface="+mn-lt"/>
                <a:cs typeface="+mn-cs"/>
              </a:rPr>
              <a:pPr/>
              <a:t>2,4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9" name="Text Placeholder 3">
            <a:extLst>
              <a:ext uri="{FF2B5EF4-FFF2-40B4-BE49-F238E27FC236}">
                <a16:creationId xmlns:a16="http://schemas.microsoft.com/office/drawing/2014/main" id="{64E90089-BBCD-6136-D33D-2E079519407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870825" y="2401888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AA5EC36-486F-48FA-B405-E54F0B20E497}" type="datetime'-''''''''''''2'''''''''''''''''''''''''''''''''''">
              <a:rPr lang="en-US" altLang="en-US" smtClean="0">
                <a:latin typeface="+mn-lt"/>
                <a:cs typeface="+mn-cs"/>
              </a:rPr>
              <a:pPr/>
              <a:t>-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668D491D-FFC2-FC00-F346-FFB28F4EEF89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909050" y="2806700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D003D05-4F79-4414-860E-8036912DDF95}" type="datetime'-''''''''''''5''''''''''''''''''''''''''''8'''''''''''">
              <a:rPr lang="en-US" altLang="en-US" smtClean="0">
                <a:latin typeface="+mn-lt"/>
                <a:cs typeface="+mn-cs"/>
              </a:rPr>
              <a:pPr/>
              <a:t>-5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1C746243-CA99-A1A4-160B-CED1A07C9EE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017125" y="233997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49FCBF-7A12-41E9-9865-B91CEC63554A}" type="datetime'''''''''''1''6'''''''''''''''''''''''''''''''''''''''''">
              <a:rPr lang="en-US" altLang="en-US" smtClean="0">
                <a:latin typeface="+mn-lt"/>
                <a:cs typeface="+mn-cs"/>
              </a:rPr>
              <a:pPr/>
              <a:t>1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690DE142-DC0B-EF98-E0C3-C4BB7958926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993438" y="2403475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E97DECA-0EFB-4FA3-A9F6-1423715A6348}" type="datetime'''''''''''2'''''''''',''''''''''''''5''97'''''''''''''''''">
              <a:rPr lang="en-US" altLang="en-US" smtClean="0">
                <a:latin typeface="+mn-lt"/>
                <a:cs typeface="+mn-cs"/>
              </a:rPr>
              <a:pPr/>
              <a:t>2,59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0E4929B-228D-0A59-668C-DBFE77BB2C9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770689" y="19700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51542-95B4-46FE-8274-817820070224}" type="datetime'''''''''5''''''''''''''''''''''''''''''1'''''''''''''''''''''">
              <a:rPr lang="en-US" altLang="en-US" smtClean="0">
                <a:latin typeface="+mn-lt"/>
                <a:cs typeface="+mn-cs"/>
              </a:rPr>
              <a:pPr/>
              <a:t>5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66612E23-F894-2BFB-F8C0-37A24A44C8B6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6551613" y="35306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500A05E6-A06A-316D-BE6D-B3BBEE579BC3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6551613" y="3783013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A9F01272-F414-F68C-8159-79E6296E6C54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8069263" y="3530600"/>
            <a:ext cx="214313" cy="160338"/>
          </a:xfrm>
          <a:prstGeom prst="rect">
            <a:avLst/>
          </a:prstGeom>
          <a:solidFill>
            <a:srgbClr val="CF8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A3990936-D508-DC5C-A76E-BABC9AABA379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8069263" y="3783013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358D877-A0FE-2A59-C40A-2E2673D672E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816725" y="35115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987A744-B9C7-4ADC-89F2-2694A9E4BC65}" type="datetime'''''''''''''''''''''''盒''''''数''''''''''变''化''''''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盒数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1" name="Text Placeholder 3">
            <a:extLst>
              <a:ext uri="{FF2B5EF4-FFF2-40B4-BE49-F238E27FC236}">
                <a16:creationId xmlns:a16="http://schemas.microsoft.com/office/drawing/2014/main" id="{A3B74362-4039-CC36-3A1A-B0E20F20D68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816725" y="3763963"/>
            <a:ext cx="11509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7F326FA-C325-459E-AA8E-6FCD834E2C6B}" type="datetime'''''大''小''''''''包装''''Mi''''''''''''x变''''''''''''化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大小包装Mix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84979810-8178-49D5-3FE2-5CC9EC240E4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334375" y="3511550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E8774AD-DC20-4181-ABBD-789867043762}" type="datetime'''毛''''销''''价''''''''''''''''''''''''''变''''''''''''''化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毛销价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3" name="Text Placeholder 3">
            <a:extLst>
              <a:ext uri="{FF2B5EF4-FFF2-40B4-BE49-F238E27FC236}">
                <a16:creationId xmlns:a16="http://schemas.microsoft.com/office/drawing/2014/main" id="{DA768C52-B91B-3BE4-2BDA-F8F01CBCA69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334375" y="3763963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175E08D-2553-482D-9F9B-6DD951967DC4}" type="datetime'''''''''''''''''投''''''''''''''''资''''''费''''''比''''变''化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投资费比变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98" name="表格 197">
            <a:extLst>
              <a:ext uri="{FF2B5EF4-FFF2-40B4-BE49-F238E27FC236}">
                <a16:creationId xmlns:a16="http://schemas.microsoft.com/office/drawing/2014/main" id="{8EC02E79-E8B4-5EF5-A8BF-541BB49967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9422284"/>
              </p:ext>
            </p:extLst>
          </p:nvPr>
        </p:nvGraphicFramePr>
        <p:xfrm>
          <a:off x="436563" y="4874922"/>
          <a:ext cx="11268076" cy="179918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4011">
                  <a:extLst>
                    <a:ext uri="{9D8B030D-6E8A-4147-A177-3AD203B41FA5}">
                      <a16:colId xmlns:a16="http://schemas.microsoft.com/office/drawing/2014/main" val="3386589841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375741987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783527129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2796655829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719064974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1771936087"/>
                    </a:ext>
                  </a:extLst>
                </a:gridCol>
                <a:gridCol w="1044007">
                  <a:extLst>
                    <a:ext uri="{9D8B030D-6E8A-4147-A177-3AD203B41FA5}">
                      <a16:colId xmlns:a16="http://schemas.microsoft.com/office/drawing/2014/main" val="1025955063"/>
                    </a:ext>
                  </a:extLst>
                </a:gridCol>
              </a:tblGrid>
              <a:tr h="24743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 </a:t>
                      </a:r>
                      <a:r>
                        <a:rPr lang="zh-CN" alt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团队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团队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目标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4454434"/>
                  </a:ext>
                </a:extLst>
              </a:tr>
              <a:tr h="247438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</a:t>
                      </a:r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院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售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72701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1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2.6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607538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量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9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.5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5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211610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6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6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21716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5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7876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3324204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盒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9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.6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7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298017"/>
                  </a:ext>
                </a:extLst>
              </a:tr>
            </a:tbl>
          </a:graphicData>
        </a:graphic>
      </p:graphicFrame>
      <p:sp>
        <p:nvSpPr>
          <p:cNvPr id="204" name="矩形 203">
            <a:extLst>
              <a:ext uri="{FF2B5EF4-FFF2-40B4-BE49-F238E27FC236}">
                <a16:creationId xmlns:a16="http://schemas.microsoft.com/office/drawing/2014/main" id="{758FB9C4-4D4A-32E2-69B2-AE89A47C3804}"/>
              </a:ext>
            </a:extLst>
          </p:cNvPr>
          <p:cNvSpPr/>
          <p:nvPr/>
        </p:nvSpPr>
        <p:spPr>
          <a:xfrm>
            <a:off x="0" y="1356011"/>
            <a:ext cx="1962035" cy="500494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络活喜 净销售额</a:t>
            </a:r>
            <a:r>
              <a:rPr lang="en-US" altLang="zh-CN" sz="1200" b="1" dirty="0">
                <a:solidFill>
                  <a:schemeClr val="bg1"/>
                </a:solidFill>
              </a:rPr>
              <a:t>20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03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4A346C-A9B4-0674-1289-9DC2F894D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870C35C-9049-4C26-7BD0-AD2B7E5711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59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3" imgW="473" imgH="476" progId="TCLayout.ActiveDocument.1">
                  <p:embed/>
                </p:oleObj>
              </mc:Choice>
              <mc:Fallback>
                <p:oleObj name="think-cell 幻灯片" r:id="rId53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70C35C-9049-4C26-7BD0-AD2B7E571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矩形 51">
            <a:extLst>
              <a:ext uri="{FF2B5EF4-FFF2-40B4-BE49-F238E27FC236}">
                <a16:creationId xmlns:a16="http://schemas.microsoft.com/office/drawing/2014/main" id="{938AA5CF-95F7-6B8F-101E-5CA12FADF113}"/>
              </a:ext>
            </a:extLst>
          </p:cNvPr>
          <p:cNvSpPr/>
          <p:nvPr/>
        </p:nvSpPr>
        <p:spPr>
          <a:xfrm>
            <a:off x="0" y="6286499"/>
            <a:ext cx="12188952" cy="50049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FC733DFE-234C-CA7B-A4CE-1862DDB5CCCC}"/>
              </a:ext>
            </a:extLst>
          </p:cNvPr>
          <p:cNvSpPr/>
          <p:nvPr/>
        </p:nvSpPr>
        <p:spPr>
          <a:xfrm>
            <a:off x="6362701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61F5AAAD-B6CB-5159-B12C-65D153E525FA}"/>
              </a:ext>
            </a:extLst>
          </p:cNvPr>
          <p:cNvSpPr/>
          <p:nvPr/>
        </p:nvSpPr>
        <p:spPr>
          <a:xfrm>
            <a:off x="8532814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39438B1C-512A-0E77-247D-6BBF007C06BD}"/>
              </a:ext>
            </a:extLst>
          </p:cNvPr>
          <p:cNvSpPr/>
          <p:nvPr/>
        </p:nvSpPr>
        <p:spPr>
          <a:xfrm>
            <a:off x="10709275" y="1355726"/>
            <a:ext cx="98742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30611B49-8564-6CD7-E7E5-C99BACBE6AE1}"/>
              </a:ext>
            </a:extLst>
          </p:cNvPr>
          <p:cNvSpPr/>
          <p:nvPr/>
        </p:nvSpPr>
        <p:spPr>
          <a:xfrm>
            <a:off x="2003426" y="1355726"/>
            <a:ext cx="428307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3CE9184-B331-B398-D4C8-430DF229D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381126"/>
          </a:xfrm>
        </p:spPr>
        <p:txBody>
          <a:bodyPr vert="horz"/>
          <a:lstStyle/>
          <a:p>
            <a:r>
              <a:rPr lang="zh-CN" altLang="en-US" sz="2000" dirty="0"/>
              <a:t>西乐葆在全渠道医院的增长同时来自量的增长和总投资费比的降低；零售销售量下跌，增长来自因大包装毛销价上调带来的平均净价格的提升</a:t>
            </a:r>
            <a:endParaRPr lang="en-US" sz="2000" dirty="0"/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9AB33597-44A0-19FA-FC25-DA358AD4E9E3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932238" y="263842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7BB59D6A-39C7-DEA6-2DD3-E644C4CA8FE3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768475" y="3175000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0B405998-B1CC-15E4-9A00-46C66669A02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851150" y="29114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74DAF96B-67CD-F6B4-ACB0-6F47949DA81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014913" y="31400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38D15DFA-24BA-36C0-D6F8-4E4A9EB131E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096000" y="208438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9B4CA144-CCD9-0732-5B14-395DAAA67C17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178675" y="208438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B9BC6987-32DD-953B-9602-D1C8A2F7C57A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261350" y="208438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B4BB84AD-6106-A3E9-4622-14316E79D32E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342438" y="347503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41B979AA-AC67-1DE0-5970-FFD1D394336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425113" y="3048000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矩形 27">
            <a:extLst>
              <a:ext uri="{FF2B5EF4-FFF2-40B4-BE49-F238E27FC236}">
                <a16:creationId xmlns:a16="http://schemas.microsoft.com/office/drawing/2014/main" id="{B57E643F-C831-6588-2502-5AB7B5BBFA8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659688" y="2081213"/>
            <a:ext cx="601662" cy="6350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654274F1-363A-B34B-16CF-CF402A35536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577013" y="2081213"/>
            <a:ext cx="601662" cy="6350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B93B8199-E7CE-84E1-8307-292BC4C941CB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33685601"/>
              </p:ext>
            </p:extLst>
          </p:nvPr>
        </p:nvGraphicFramePr>
        <p:xfrm>
          <a:off x="844550" y="1355725"/>
          <a:ext cx="10985500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31EFF4D-E4FB-3EA0-CACC-694D7B8D500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402138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119883-58B8-4DA8-9AD6-222F390AB832}" type="datetime'''''''量''''''''''的''''''''''变''''''化''&#10;零''''''''售'''''''">
              <a:rPr lang="zh-CN" altLang="en-US" smtClean="0">
                <a:latin typeface="+mn-lt"/>
                <a:cs typeface="+mn-cs"/>
              </a:rPr>
              <a:pPr/>
              <a:t>量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CC6761-DF14-E240-7DCB-263BEEB8977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688013" y="21891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4A9620-4300-4DDB-97DF-95BDA46AECAD}" type="datetime'''''''''''''''''''''''''''''3''''''''''''''''0'">
              <a:rPr lang="en-US" altLang="en-US" smtClean="0">
                <a:latin typeface="+mn-lt"/>
                <a:cs typeface="+mn-cs"/>
              </a:rPr>
              <a:pPr/>
              <a:t>3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A119605-DA75-6186-F1A0-0923DD1BB01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694363" y="3362325"/>
            <a:ext cx="2016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591CDE-A542-493D-8435-CA6D3BF65E96}" type="datetime'''''''''''''''''''1''''''''''''''''''''''''''''1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8D8D37F-28F1-17A0-9DE9-0455C2F0E7C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48322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7468FA-BD6E-40CB-9734-5E98917232F2}" type="datetime'''''''''''''''价''''''''''''的变''''化''''''&#10;零售'''''''''''''''''''">
              <a:rPr lang="zh-CN" altLang="en-US" smtClean="0">
                <a:latin typeface="+mn-lt"/>
                <a:cs typeface="+mn-cs"/>
              </a:rPr>
              <a:pPr/>
              <a:t>价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77AC7C1-8644-BD84-49BC-A503C6DADC5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65900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1BED9F5-F958-45A2-BD6E-5B964E55922E}" type="datetime'''量''''''''的''''''''''''''''''''变''''化''''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B82CC920-EFF6-F673-1BCB-675EF39A0AA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934450" y="287972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79C00-0DDB-4597-A8D7-4E23639ACC86}" type="datetime'''''''3''''''''''''''''''''''''''''''''''''''''''''''''''2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2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95862B7B-BE92-A965-7914-D438BA31725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977313" y="1782763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9901A0-F8B3-4342-ADBA-5B748837CFBD}" type="datetime'''''''''''''''''''''''''7'''">
              <a:rPr lang="en-US" altLang="en-US" smtClean="0">
                <a:effectLst/>
                <a:latin typeface="+mn-lt"/>
                <a:cs typeface="+mn-cs"/>
              </a:rPr>
              <a:pPr/>
              <a:t>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4B0A003D-AB0D-915F-973D-24176FB5FAB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29663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3D0E433-5C19-4E3B-893E-728B20B2744E}" type="datetime'''''量''''''''''''''''''''''''的''''''''''变''''''''''''''化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7DA89F1C-2C5C-397F-F967-E093DC55EEB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9988" y="3098800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80B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6999DB-88FE-420C-8F41-D2AA7E661C3E}" type="datetime'''''''''''''''''''''''''''5'''''''''''''''''''''''''''">
              <a:rPr lang="en-US" altLang="en-US" smtClean="0">
                <a:effectLst/>
                <a:latin typeface="+mn-lt"/>
                <a:cs typeface="+mn-cs"/>
              </a:rPr>
              <a:pPr/>
              <a:t>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5D8D60B-12E6-25F1-A3A3-AC7F6E0192D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417888" y="2692400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344F68A-4B45-4D23-B885-BD8F753EED44}" type="datetime'''''''''''''''''''''4''''''''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4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5C06DF48-0BD9-4676-4A3B-367DAE55CDF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812338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EE87B2-F9AC-4B8F-B59E-E7D277A0E1BB}" type="datetime'''''''''''''''''价''''''''的变''''''''''''''''''''''''化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57908DEC-86D6-D4B5-9F66-E715DC00330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877550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CC4B59-A444-4F5A-AE88-6C520843F99B}" type="datetime'25''''''''''''1''''''0''''''''''Y''''''''''T''''''''''D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F122F9-577E-7600-35D3-531DA79AA0D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39825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206B88-16D9-487B-AB59-4E8A639C81ED}" type="datetime'2''''4''''''1''''''0''''Y''''''''''''''''''''''T''''D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45A27584-DCF1-1367-BEA1-1D63D51AEC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636838" y="2940050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F3E0B4D-49B7-4920-8AE0-029A798F1AE1}" type="datetime'''''''''''''''''5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8CA7AC32-802A-3A93-E541-1A755093241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059988" y="3311525"/>
            <a:ext cx="128588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996922C-0DC6-4FBB-9704-843BA9E14036}" type="datetime'''''''''''''''''''''''2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6BED68E5-5B03-FCCE-9F31-77BDF9BC98B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336800" y="3078163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13C94D-34C1-4DA6-832B-879031E0BB8C}" type="datetime'''''''0'''''''''">
              <a:rPr lang="en-US" altLang="en-US" smtClean="0">
                <a:effectLst/>
                <a:latin typeface="+mn-lt"/>
                <a:cs typeface="+mn-cs"/>
              </a:rPr>
              <a:pPr/>
              <a:t>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9127BFF-7BA5-E633-6F36-24C6FFAFEF0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23837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07A134-7CCD-4CC5-A74C-40C45DFCDCCA}" type="datetime'量''的''''''''''''''''''''''''''''''''变''化''&#10;''''''''医院'''">
              <a:rPr lang="zh-CN" altLang="en-US" smtClean="0">
                <a:latin typeface="+mn-lt"/>
                <a:cs typeface="+mn-cs"/>
              </a:rPr>
              <a:pPr/>
              <a:t>量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E80E321-6868-777D-11B8-1F9CCAF96DC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717925" y="2555875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E7914C1-4A46-4D98-9620-BAC8E0879987}" type="datetime'''''''''''''''''''1'''''''''''''''''''''''''''''''''''''">
              <a:rPr lang="en-US" altLang="en-US" smtClean="0">
                <a:latin typeface="+mn-lt"/>
                <a:cs typeface="+mn-cs"/>
              </a:rPr>
              <a:pPr/>
              <a:t>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8F583C5-0538-A749-7E53-0804FB6299D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319463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1173F9-FCD6-4C13-919A-BD428952E76D}" type="datetime'''''价''''的''''''''''''变''化''''''''''''''&#10;医''''''院'">
              <a:rPr lang="zh-CN" altLang="en-US" smtClean="0">
                <a:latin typeface="+mn-lt"/>
                <a:cs typeface="+mn-cs"/>
              </a:rPr>
              <a:pPr/>
              <a:t>价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2D4C8A4-1E2E-034C-27EB-F4A556F46FD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606925" y="21383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A0F970C-D229-48A0-A53C-3DDD0D56F70E}" type="datetime'''''''''''''1''''''''''''''''''''''''''''''''''4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4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34B98DF-7CDF-2108-5677-81AD9422601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606925" y="318770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1A7462F-879B-467C-88DC-BBB039403BB9}" type="datetime'2''''''''''''''''''''3'''''''''''''''''''''''''''''''''">
              <a:rPr lang="en-US" altLang="en-US" smtClean="0">
                <a:latin typeface="+mn-lt"/>
                <a:cs typeface="+mn-cs"/>
              </a:rPr>
              <a:pPr/>
              <a:t>2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DD24389D-BA52-5C26-6918-CF618CFB35F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319213" y="294798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F4277BD-7ECE-41BE-9549-4E5399CBF2A4}" type="datetime'''''''''5''''''''8''''''''''''8'''''''">
              <a:rPr lang="en-US" altLang="en-US" smtClean="0">
                <a:latin typeface="+mn-lt"/>
                <a:cs typeface="+mn-cs"/>
              </a:rPr>
              <a:pPr/>
              <a:t>58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2110732-454D-0822-DCAD-677063DE813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486025" y="2678113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C7E388-E09E-46D7-B99F-001EC2625E49}" type="datetime'''''''''''''''''''''''''''''''''''''''5'''''">
              <a:rPr lang="en-US" altLang="en-US" smtClean="0">
                <a:latin typeface="+mn-lt"/>
                <a:cs typeface="+mn-cs"/>
              </a:rPr>
              <a:pPr/>
              <a:t>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AD12FB5-D908-7201-EF44-8737D447FD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567113" y="2354263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578CBA-AED9-4A03-935B-92F7B36EC193}" type="datetime'''''''''''''''''''''5'''">
              <a:rPr lang="en-US" altLang="en-US" smtClean="0">
                <a:latin typeface="+mn-lt"/>
                <a:cs typeface="+mn-cs"/>
              </a:rPr>
              <a:pPr/>
              <a:t>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8F53048-A43D-F2E4-8A9E-B8D20C3A983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648575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E7F943-2F2C-44D3-9C9C-90409C451B5B}" type="datetime'价''''''''''''''''''''''''''''''''''''''''的''变化''''''''''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824B208-0BA9-8A76-3BF5-7D5C6A0F9B8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688013" y="12112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3084104-F003-4A70-AC03-6CBB153A09A3}" type="datetime'''''''''''''''''''''''''''''''''''''''''''1''''9'''''''''''''">
              <a:rPr lang="en-US" altLang="en-US" smtClean="0">
                <a:latin typeface="+mn-lt"/>
                <a:cs typeface="+mn-cs"/>
              </a:rPr>
              <a:pPr/>
              <a:t>19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71E85D15-BADC-C53D-67EF-3F5F9F4B4134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909050" y="3902075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E4D2C7-5EE4-40A6-AAD0-DC5993C2EF69}" type="datetime'''''''-''''''''''''''''''2''''''''5'''''''''''''''''">
              <a:rPr lang="en-US" altLang="en-US" smtClean="0">
                <a:latin typeface="+mn-lt"/>
                <a:cs typeface="+mn-cs"/>
              </a:rPr>
              <a:pPr/>
              <a:t>-2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7F9D3CD0-CC8B-EC29-B223-8E93D121170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059988" y="2820988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E9360E-DCD6-442F-81A5-3591C15104D8}" type="datetime'''''''8'''''''''''''">
              <a:rPr lang="en-US" altLang="en-US" smtClean="0">
                <a:latin typeface="+mn-lt"/>
                <a:cs typeface="+mn-cs"/>
              </a:rPr>
              <a:pPr/>
              <a:t>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797FD544-E05D-76C0-0BF4-1D53662FB63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1056938" y="282098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466F30-42BF-4556-8582-9EC755BA0739}" type="datetime'''''''''''''5''''''90'''''''''''''''''''''''">
              <a:rPr lang="en-US" altLang="en-US" smtClean="0">
                <a:latin typeface="+mn-lt"/>
                <a:cs typeface="+mn-cs"/>
              </a:rPr>
              <a:pPr/>
              <a:t>59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69854CD-C9E3-3737-DB39-FACFD7F594E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624388" y="3963988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12A0208-5106-4DD6-97F3-40728A8181D5}" type="datetime'''''''''''''''''''''-''''''''9'''''''''''''''''''''''''">
              <a:rPr lang="en-US" altLang="en-US" smtClean="0">
                <a:latin typeface="+mn-lt"/>
                <a:cs typeface="+mn-cs"/>
              </a:rPr>
              <a:pPr/>
              <a:t>-9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E70DA91E-6674-6D50-5996-0A162787F6BC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867525" y="303053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AB14B7C2-D2EA-6A11-6BCB-F95BBE84AE20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867525" y="3282950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1BE4C0FD-BC6E-3F8F-6199-D4F9C76E635D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867525" y="3535363"/>
            <a:ext cx="214313" cy="160338"/>
          </a:xfrm>
          <a:prstGeom prst="rect">
            <a:avLst/>
          </a:prstGeom>
          <a:solidFill>
            <a:srgbClr val="CF8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244A2C2A-9EB8-3FA2-B8E0-9F100307B16C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6867525" y="3787775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2FCD4468-349B-C4E5-7314-4EB6283C3FF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132638" y="3011488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987A744-B9C7-4ADC-89F2-2694A9E4BC65}" type="datetime'''''''''''''''''''''''盒''''''数''''''''''变''化''''''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盒数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1" name="Text Placeholder 3">
            <a:extLst>
              <a:ext uri="{FF2B5EF4-FFF2-40B4-BE49-F238E27FC236}">
                <a16:creationId xmlns:a16="http://schemas.microsoft.com/office/drawing/2014/main" id="{3DFEE2B9-221A-7D18-1AB5-80017B2D253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132638" y="3263900"/>
            <a:ext cx="11509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7F326FA-C325-459E-AA8E-6FCD834E2C6B}" type="datetime'''''大''小''''''''包装''''Mi''''''''''''x变''''''''''''化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大小包装Mix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9479CB2E-C2CB-3C15-98BD-48CF33A2B75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132638" y="35163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E8774AD-DC20-4181-ABBD-789867043762}" type="datetime'''毛''''销''''价''''''''''''''''''''''''''变''''''''''''''化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毛销价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3" name="Text Placeholder 3">
            <a:extLst>
              <a:ext uri="{FF2B5EF4-FFF2-40B4-BE49-F238E27FC236}">
                <a16:creationId xmlns:a16="http://schemas.microsoft.com/office/drawing/2014/main" id="{1767DD01-0D76-C444-3C05-0E855092C95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132638" y="3768725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175E08D-2553-482D-9F9B-6DD951967DC4}" type="datetime'''''''''''''''''投''''''''''''''''资''''''费''''''比''''变''化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投资费比变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98" name="表格 197">
            <a:extLst>
              <a:ext uri="{FF2B5EF4-FFF2-40B4-BE49-F238E27FC236}">
                <a16:creationId xmlns:a16="http://schemas.microsoft.com/office/drawing/2014/main" id="{FFDF8EFF-EC19-A7BE-1409-3EBBD3BAC0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9937663"/>
              </p:ext>
            </p:extLst>
          </p:nvPr>
        </p:nvGraphicFramePr>
        <p:xfrm>
          <a:off x="436563" y="4874922"/>
          <a:ext cx="11268076" cy="179918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4011">
                  <a:extLst>
                    <a:ext uri="{9D8B030D-6E8A-4147-A177-3AD203B41FA5}">
                      <a16:colId xmlns:a16="http://schemas.microsoft.com/office/drawing/2014/main" val="3386589841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375741987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783527129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2796655829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719064974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1771936087"/>
                    </a:ext>
                  </a:extLst>
                </a:gridCol>
                <a:gridCol w="1044007">
                  <a:extLst>
                    <a:ext uri="{9D8B030D-6E8A-4147-A177-3AD203B41FA5}">
                      <a16:colId xmlns:a16="http://schemas.microsoft.com/office/drawing/2014/main" val="1025955063"/>
                    </a:ext>
                  </a:extLst>
                </a:gridCol>
              </a:tblGrid>
              <a:tr h="24743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 </a:t>
                      </a:r>
                      <a:r>
                        <a:rPr lang="zh-CN" alt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团队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团队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目标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4454434"/>
                  </a:ext>
                </a:extLst>
              </a:tr>
              <a:tr h="247438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</a:t>
                      </a:r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院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售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72701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4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607538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量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8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100" b="0" i="0" u="none" strike="noStrike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5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211610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5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6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21716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7.5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7876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3324204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盒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2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6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298017"/>
                  </a:ext>
                </a:extLst>
              </a:tr>
            </a:tbl>
          </a:graphicData>
        </a:graphic>
      </p:graphicFrame>
      <p:sp>
        <p:nvSpPr>
          <p:cNvPr id="204" name="矩形 203">
            <a:extLst>
              <a:ext uri="{FF2B5EF4-FFF2-40B4-BE49-F238E27FC236}">
                <a16:creationId xmlns:a16="http://schemas.microsoft.com/office/drawing/2014/main" id="{EEBA4A0D-45F7-2D8B-6C5A-9803EDA44622}"/>
              </a:ext>
            </a:extLst>
          </p:cNvPr>
          <p:cNvSpPr/>
          <p:nvPr/>
        </p:nvSpPr>
        <p:spPr>
          <a:xfrm>
            <a:off x="0" y="1356011"/>
            <a:ext cx="1962035" cy="500494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西乐葆 净销售额</a:t>
            </a:r>
            <a:r>
              <a:rPr lang="en-US" altLang="zh-CN" sz="1200" b="1" dirty="0">
                <a:solidFill>
                  <a:schemeClr val="bg1"/>
                </a:solidFill>
              </a:rPr>
              <a:t>20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B3A04AE-D13A-C0F1-B49C-83AFDFFDAA12}"/>
              </a:ext>
            </a:extLst>
          </p:cNvPr>
          <p:cNvSpPr/>
          <p:nvPr/>
        </p:nvSpPr>
        <p:spPr>
          <a:xfrm>
            <a:off x="6375399" y="4222750"/>
            <a:ext cx="2087563" cy="24513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78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21A88-C300-2E12-49F4-5A4514ACB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5B2AD06-3C63-52DA-607F-DE2E05FE35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749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3" imgW="473" imgH="476" progId="TCLayout.ActiveDocument.1">
                  <p:embed/>
                </p:oleObj>
              </mc:Choice>
              <mc:Fallback>
                <p:oleObj name="think-cell 幻灯片" r:id="rId53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B2AD06-3C63-52DA-607F-DE2E05FE3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矩形 51">
            <a:extLst>
              <a:ext uri="{FF2B5EF4-FFF2-40B4-BE49-F238E27FC236}">
                <a16:creationId xmlns:a16="http://schemas.microsoft.com/office/drawing/2014/main" id="{75D5B4AD-2174-399E-44B9-38E24A3D1993}"/>
              </a:ext>
            </a:extLst>
          </p:cNvPr>
          <p:cNvSpPr/>
          <p:nvPr/>
        </p:nvSpPr>
        <p:spPr>
          <a:xfrm>
            <a:off x="0" y="6286499"/>
            <a:ext cx="12188952" cy="50049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EEA5D0DB-CA2C-3FCA-E56B-73312A1DED61}"/>
              </a:ext>
            </a:extLst>
          </p:cNvPr>
          <p:cNvSpPr/>
          <p:nvPr/>
        </p:nvSpPr>
        <p:spPr>
          <a:xfrm>
            <a:off x="6362701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255E84E4-837E-9640-9DF0-BDB4AA529036}"/>
              </a:ext>
            </a:extLst>
          </p:cNvPr>
          <p:cNvSpPr/>
          <p:nvPr/>
        </p:nvSpPr>
        <p:spPr>
          <a:xfrm>
            <a:off x="8532814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539357EF-50EB-AE54-295E-F3693E70F335}"/>
              </a:ext>
            </a:extLst>
          </p:cNvPr>
          <p:cNvSpPr/>
          <p:nvPr/>
        </p:nvSpPr>
        <p:spPr>
          <a:xfrm>
            <a:off x="10709275" y="1355726"/>
            <a:ext cx="98742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EBDD1E46-CFF6-EC56-2911-3E99E92744F5}"/>
              </a:ext>
            </a:extLst>
          </p:cNvPr>
          <p:cNvSpPr/>
          <p:nvPr/>
        </p:nvSpPr>
        <p:spPr>
          <a:xfrm>
            <a:off x="2003426" y="1355726"/>
            <a:ext cx="428307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8974724C-00D1-3F33-01C5-8D1814A61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381126"/>
          </a:xfrm>
        </p:spPr>
        <p:txBody>
          <a:bodyPr vert="horz"/>
          <a:lstStyle/>
          <a:p>
            <a:r>
              <a:rPr lang="zh-CN" altLang="en-US" sz="2000" dirty="0"/>
              <a:t>万艾可的增长主要来自电商销售量的增长，类消费品团队覆盖零售销售量下跌</a:t>
            </a:r>
            <a:endParaRPr lang="en-US" sz="2000" dirty="0"/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AB6957C8-7617-3D58-2BED-CC56A584F93A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932238" y="25304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C8D8368D-467D-C6BA-A444-BBC91CB2CC6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768475" y="25304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3D935503-FF16-B275-E872-1EF5231FB80D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851150" y="25304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F4EEDD22-1155-5C64-3019-185083033A7E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014913" y="274478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CCD24C00-ABF8-6D03-A3E0-4923F3D3916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096000" y="2678113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0F22AC41-7D56-A134-3842-12738EB4285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178675" y="2317750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D458536C-D91E-32EA-DA27-5D4F91A7370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261350" y="2316163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01F46A4E-6AA8-B0DD-A02E-82E8954A5BE2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342438" y="2316163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22DF29A9-8B17-5518-25C7-0F37A0B6DFE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425113" y="233838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318CFCE6-962F-2E17-297A-0CFDF623231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249488" y="2527300"/>
            <a:ext cx="601662" cy="6350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DEDB1868-CA67-5439-3975-574265681B7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330575" y="2527300"/>
            <a:ext cx="601663" cy="6350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graphicFrame>
        <p:nvGraphicFramePr>
          <p:cNvPr id="120" name="Chart 3">
            <a:extLst>
              <a:ext uri="{FF2B5EF4-FFF2-40B4-BE49-F238E27FC236}">
                <a16:creationId xmlns:a16="http://schemas.microsoft.com/office/drawing/2014/main" id="{255B8697-F512-513C-3322-9C863A2CA40D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21049092"/>
              </p:ext>
            </p:extLst>
          </p:nvPr>
        </p:nvGraphicFramePr>
        <p:xfrm>
          <a:off x="844550" y="1355725"/>
          <a:ext cx="10985500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8DFE116-AA5B-50D5-14E1-66B5CF8B92D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921500" y="238125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048B3E2-04CF-4EF3-A944-04ACC53CBEF1}" type="datetime'''''''''''4''''''''''''''0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40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3C6EA5B-93C6-F7B6-C884-27C3C6FAF42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664325" y="2562225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38A734-7EB6-4907-9619-9C04828B06C2}" type="datetime'''''''''''''''''''''''''''''''''''4'''">
              <a:rPr lang="en-US" altLang="en-US" smtClean="0">
                <a:effectLst/>
                <a:latin typeface="+mn-lt"/>
                <a:cs typeface="+mn-cs"/>
              </a:rPr>
              <a:pPr/>
              <a:t>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B48CF4E-763E-6DA4-BD0C-F18A5FD6AFD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565900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1BED9F5-F958-45A2-BD6E-5B964E55922E}" type="datetime'''量''''''''的''''''''''''''''''''变''''化''''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F6E84183-B3F0-8230-EE39-F16C04F3A5B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853363" y="232410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80B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97432EA-8CB6-448A-9270-DA377624E1CF}" type="datetime'''''2''''''''''''''''''''''''''''''''''''''''6'''''''''">
              <a:rPr lang="en-US" altLang="en-US" smtClean="0">
                <a:effectLst/>
                <a:latin typeface="+mn-lt"/>
                <a:cs typeface="+mn-cs"/>
              </a:rPr>
              <a:pPr/>
              <a:t>2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43182916-3F09-DE02-8391-4892B73F139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853363" y="21097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95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F77B61-E930-43AA-A1A6-92BC90ECD4CE}" type="datetime'''''''''2''''''6''''''''''''''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6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D1C0EBE9-3FD3-8655-7236-FD36AD36C68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934450" y="230981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D74ED68-DC87-4B45-9AF9-534A0DEADE5F}" type="datetime'''''''''''''''''''''''''''''2''''''''''''''''3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3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C93260AF-04E3-FCE7-E416-D913951540A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934450" y="21224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32F878-B294-41AA-9E42-63D6EA5C8058}" type="datetime'''''''''''''''''''''''''''''''''''2''''''''''''''''''''3'''''">
              <a:rPr lang="en-US" altLang="en-US" smtClean="0">
                <a:effectLst/>
                <a:latin typeface="+mn-lt"/>
                <a:cs typeface="+mn-cs"/>
              </a:rPr>
              <a:pPr/>
              <a:t>2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0E0D9FF2-1DCD-3E3C-7174-3FB7038B0F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29663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3D0E433-5C19-4E3B-893E-728B20B2744E}" type="datetime'''''量''''''''''''''''''''''''的''''''''''变''''''''''''''化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733CE515-F843-B39F-2306-BF067C2C152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910763" y="2249488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14D3B2-E1CB-4D22-BC65-EA2113BDD859}" type="datetime'''''8'''''''''''''''''''''''''''''''''''">
              <a:rPr lang="en-US" altLang="en-US" smtClean="0">
                <a:effectLst/>
                <a:latin typeface="+mn-lt"/>
                <a:cs typeface="+mn-cs"/>
              </a:rPr>
              <a:pPr/>
              <a:t>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A447017-3ED5-C846-A63E-BE54079D887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606925" y="207645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C4760A-493C-4BCA-97DD-B11DBD7095F5}" type="datetime'8''''''''''''''''6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6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9727EFA2-8BF9-1B05-B3A4-ABFF9BDBA2C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812338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EE87B2-F9AC-4B8F-B59E-E7D277A0E1BB}" type="datetime'''''''''''''''''价''''''''的变''''''''''''''''''''''''化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7CD06F8B-66C7-C011-A348-B7CC405AE8D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877550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CC4B59-A444-4F5A-AE88-6C520843F99B}" type="datetime'25''''''''''''1''''''0''''''''''Y''''''''''T''''''''''D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0589A-177C-580B-2F2E-B78C8E0A9B0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39825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206B88-16D9-487B-AB59-4E8A639C81ED}" type="datetime'2''''4''''''1''''''0''''Y''''''''''''''''''''''T''''D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6157302-4BD4-18D2-9E8B-D91EF5CC15E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23837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07A134-7CCD-4CC5-A74C-40C45DFCDCCA}" type="datetime'量''的''''''''''''''''''''''''''''''''变''化''&#10;''''''''医院'''">
              <a:rPr lang="zh-CN" altLang="en-US" smtClean="0">
                <a:latin typeface="+mn-lt"/>
                <a:cs typeface="+mn-cs"/>
              </a:rPr>
              <a:pPr/>
              <a:t>量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8E7920FB-7EF7-6D75-782C-B35F47D7CCB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210800" y="2193925"/>
            <a:ext cx="128588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7A7AA9-D48D-4FA1-A0C4-B9FFD8281D7E}" type="datetime'''''''''''''''''''''''''''5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7AAADF1-9839-C7E7-E6FC-E3D3C87CC28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319463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1173F9-FCD6-4C13-919A-BD428952E76D}" type="datetime'''''价''''的''''''''''''变''化''''''''''''''&#10;医''''''院'">
              <a:rPr lang="zh-CN" altLang="en-US" smtClean="0">
                <a:latin typeface="+mn-lt"/>
                <a:cs typeface="+mn-cs"/>
              </a:rPr>
              <a:pPr/>
              <a:t>价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C6B00BA-3BA2-1B8F-505E-DAE7B39C05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70413" y="2890838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E62C495-8905-4F7C-944C-92E1639B452B}" type="datetime'1''''1''''''''''''3'''''''''''''''''''''">
              <a:rPr lang="en-US" altLang="en-US" smtClean="0">
                <a:effectLst/>
                <a:latin typeface="+mn-lt"/>
                <a:cs typeface="+mn-cs"/>
              </a:rPr>
              <a:pPr/>
              <a:t>11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BD716FD-56C0-4DA1-1772-5D2BD90A9D9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402138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119883-58B8-4DA8-9AD6-222F390AB832}" type="datetime'''''''量''''''''''的''''''''''变''''''化''&#10;零''''''''售'''''''">
              <a:rPr lang="zh-CN" altLang="en-US" smtClean="0">
                <a:latin typeface="+mn-lt"/>
                <a:cs typeface="+mn-cs"/>
              </a:rPr>
              <a:pPr/>
              <a:t>量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3A2FFA5-D833-E416-A858-4777730F277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646738" y="326390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80B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0D603B-C53A-452F-B8F2-05DD36FCFF94}" type="datetime'''''''''1''''''''''''''''''''''''''''''5''''''''''''''''''2'">
              <a:rPr lang="en-US" altLang="en-US" smtClean="0">
                <a:effectLst/>
                <a:latin typeface="+mn-lt"/>
                <a:cs typeface="+mn-cs"/>
              </a:rPr>
              <a:pPr/>
              <a:t>15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5FF86AF-3C2A-47C6-7BCA-9D16CF4AA93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646738" y="1990725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95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9CC969-FDED-469D-807A-A7DF12D6D495}" type="datetime'''''''''1''''''''''6''0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60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C7BA8F6-7CB7-03BC-1055-6A6F304838A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48322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7468FA-BD6E-40CB-9734-5E98917232F2}" type="datetime'''''''''''''''价''''''''''''的变''''化''''''&#10;零售'''''''''''''''''''">
              <a:rPr lang="zh-CN" altLang="en-US" smtClean="0">
                <a:latin typeface="+mn-lt"/>
                <a:cs typeface="+mn-cs"/>
              </a:rPr>
              <a:pPr/>
              <a:t>价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D31C1B46-6AE9-6FF3-2DE2-D4257227403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255713" y="2303463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3BC032-D76B-4ACF-BA75-E175DBDEC7FA}" type="datetime'1'''''''''''''''''''''''''''''''',''3''''0''''1'''">
              <a:rPr lang="en-US" altLang="en-US" smtClean="0">
                <a:latin typeface="+mn-lt"/>
                <a:cs typeface="+mn-cs"/>
              </a:rPr>
              <a:pPr/>
              <a:t>1,30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3CE0FB9-62D5-F69C-A45A-B0C44C07E6E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81525" y="3476625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BD4847-3D65-4CA5-B68E-5DBE54C7457F}" type="datetime'''''''''''''''''-''''2''''''''6'''''''''''">
              <a:rPr lang="en-US" altLang="en-US" smtClean="0">
                <a:latin typeface="+mn-lt"/>
                <a:cs typeface="+mn-cs"/>
              </a:rPr>
              <a:pPr/>
              <a:t>-2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F445A0B-9DAD-7B07-ECEE-53F22DDC72E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730875" y="1211263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84ED93-1091-4AA1-A7E3-E5CC945F7E7D}" type="datetime'''''''''8'''''''''''">
              <a:rPr lang="en-US" altLang="en-US" smtClean="0">
                <a:latin typeface="+mn-lt"/>
                <a:cs typeface="+mn-cs"/>
              </a:rPr>
              <a:pPr/>
              <a:t>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E77E3DA-A967-AEDC-11CB-1EAA7E909CC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648575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E7F943-2F2C-44D3-9C9C-90409C451B5B}" type="datetime'价''''''''''''''''''''''''''''''''''''''''的''变化''''''''''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3E8588B4-A17F-3B4F-6716-35772A8E6E8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896225" y="1874838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7B23E86-BED6-4A86-B381-01A222AAAC2D}" type="datetime'''''''''''''''''''''''''''''''''0'">
              <a:rPr lang="en-US" altLang="en-US" smtClean="0">
                <a:latin typeface="+mn-lt"/>
                <a:cs typeface="+mn-cs"/>
              </a:rPr>
              <a:pPr/>
              <a:t>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437E3542-770A-5A78-F929-D60000CF4D4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977313" y="1901825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2501636-071B-4CF4-88A6-E9B71708BB79}" type="datetime'''''''0'''''''''''''''''''''''''''''''''">
              <a:rPr lang="en-US" altLang="en-US" smtClean="0">
                <a:latin typeface="+mn-lt"/>
                <a:cs typeface="+mn-cs"/>
              </a:rPr>
              <a:pPr/>
              <a:t>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481C25F6-DBCC-9D4F-B1B0-04343D99D10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034588" y="2451100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87B8D54-B0E7-4E98-8C4F-C020B9093332}" type="datetime'''''''''''''''''''''''''''''''''''''''''''''''''''''-''3'">
              <a:rPr lang="en-US" altLang="en-US" smtClean="0">
                <a:latin typeface="+mn-lt"/>
                <a:cs typeface="+mn-cs"/>
              </a:rPr>
              <a:pPr/>
              <a:t>-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53EF45FE-42B1-DC7D-A875-232F5F23A77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0993438" y="2111375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3EB715-9AB9-488E-9351-5B8A818E6EBE}" type="datetime'1'''''''''''''''',''3''''''''2''''''''''''''''''4'''''''''''">
              <a:rPr lang="en-US" altLang="en-US" smtClean="0">
                <a:latin typeface="+mn-lt"/>
                <a:cs typeface="+mn-cs"/>
              </a:rPr>
              <a:pPr/>
              <a:t>1,32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E6319B3A-76F8-91EF-EFEB-3CDB1512D85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770688" y="209073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755035-99E8-4DA8-B719-A089A31CB968}" type="datetime'''''''4''''''''''''''4'''">
              <a:rPr lang="en-US" altLang="en-US" smtClean="0">
                <a:latin typeface="+mn-lt"/>
                <a:cs typeface="+mn-cs"/>
              </a:rPr>
              <a:pPr/>
              <a:t>4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A190CD30-2FF5-460F-4A50-91C3DBB75628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867525" y="303053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B4D8E606-6737-6F3D-2F8C-D8DBBCEBC0DC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867525" y="3282950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4AB893D8-A47C-3FFA-399C-3B064ABB22B9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867525" y="3535363"/>
            <a:ext cx="214313" cy="160338"/>
          </a:xfrm>
          <a:prstGeom prst="rect">
            <a:avLst/>
          </a:prstGeom>
          <a:solidFill>
            <a:srgbClr val="CF8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265B2FEF-2E36-EACF-6B26-38D100EDABCD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6867525" y="3787775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34D85DB6-C6F3-8F23-0FB1-EE9C474393B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132638" y="3011488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987A744-B9C7-4ADC-89F2-2694A9E4BC65}" type="datetime'''''''''''''''''''''''盒''''''数''''''''''变''化''''''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盒数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1" name="Text Placeholder 3">
            <a:extLst>
              <a:ext uri="{FF2B5EF4-FFF2-40B4-BE49-F238E27FC236}">
                <a16:creationId xmlns:a16="http://schemas.microsoft.com/office/drawing/2014/main" id="{64305884-2A46-DD1E-CF9D-64CA4F5076D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132638" y="3263900"/>
            <a:ext cx="11509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7F326FA-C325-459E-AA8E-6FCD834E2C6B}" type="datetime'''''大''小''''''''包装''''Mi''''''''''''x变''''''''''''化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大小包装Mix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0B3F9256-484E-B44F-894B-F7A026459BD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132638" y="35163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E8774AD-DC20-4181-ABBD-789867043762}" type="datetime'''毛''''销''''价''''''''''''''''''''''''''变''''''''''''''化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毛销价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3" name="Text Placeholder 3">
            <a:extLst>
              <a:ext uri="{FF2B5EF4-FFF2-40B4-BE49-F238E27FC236}">
                <a16:creationId xmlns:a16="http://schemas.microsoft.com/office/drawing/2014/main" id="{103C1631-3488-67C0-55F6-34676A8AC45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132638" y="3768725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175E08D-2553-482D-9F9B-6DD951967DC4}" type="datetime'''''''''''''''''投''''''''''''''''资''''''费''''''比''''变''化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投资费比变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98" name="表格 197">
            <a:extLst>
              <a:ext uri="{FF2B5EF4-FFF2-40B4-BE49-F238E27FC236}">
                <a16:creationId xmlns:a16="http://schemas.microsoft.com/office/drawing/2014/main" id="{4B969EF1-17FA-6C38-5435-9E02ABEA89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790439"/>
              </p:ext>
            </p:extLst>
          </p:nvPr>
        </p:nvGraphicFramePr>
        <p:xfrm>
          <a:off x="436563" y="4874922"/>
          <a:ext cx="11268046" cy="179918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4011">
                  <a:extLst>
                    <a:ext uri="{9D8B030D-6E8A-4147-A177-3AD203B41FA5}">
                      <a16:colId xmlns:a16="http://schemas.microsoft.com/office/drawing/2014/main" val="3386589841"/>
                    </a:ext>
                  </a:extLst>
                </a:gridCol>
                <a:gridCol w="4320000">
                  <a:extLst>
                    <a:ext uri="{9D8B030D-6E8A-4147-A177-3AD203B41FA5}">
                      <a16:colId xmlns:a16="http://schemas.microsoft.com/office/drawing/2014/main" val="2796655829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719064974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1771936087"/>
                    </a:ext>
                  </a:extLst>
                </a:gridCol>
                <a:gridCol w="1044007">
                  <a:extLst>
                    <a:ext uri="{9D8B030D-6E8A-4147-A177-3AD203B41FA5}">
                      <a16:colId xmlns:a16="http://schemas.microsoft.com/office/drawing/2014/main" val="1025955063"/>
                    </a:ext>
                  </a:extLst>
                </a:gridCol>
              </a:tblGrid>
              <a:tr h="24743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 </a:t>
                      </a:r>
                      <a:r>
                        <a:rPr lang="zh-CN" alt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团队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目标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4454434"/>
                  </a:ext>
                </a:extLst>
              </a:tr>
              <a:tr h="247438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售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72701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9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607538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量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8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211610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6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21716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7876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3324204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盒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298017"/>
                  </a:ext>
                </a:extLst>
              </a:tr>
            </a:tbl>
          </a:graphicData>
        </a:graphic>
      </p:graphicFrame>
      <p:sp>
        <p:nvSpPr>
          <p:cNvPr id="204" name="矩形 203">
            <a:extLst>
              <a:ext uri="{FF2B5EF4-FFF2-40B4-BE49-F238E27FC236}">
                <a16:creationId xmlns:a16="http://schemas.microsoft.com/office/drawing/2014/main" id="{D18C2478-1769-2FB5-6C1B-5A688F351D68}"/>
              </a:ext>
            </a:extLst>
          </p:cNvPr>
          <p:cNvSpPr/>
          <p:nvPr/>
        </p:nvSpPr>
        <p:spPr>
          <a:xfrm>
            <a:off x="0" y="1356011"/>
            <a:ext cx="1962035" cy="500494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万艾可 净销售额</a:t>
            </a:r>
            <a:r>
              <a:rPr lang="en-US" altLang="zh-CN" sz="1200" b="1" dirty="0">
                <a:solidFill>
                  <a:schemeClr val="bg1"/>
                </a:solidFill>
              </a:rPr>
              <a:t>20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122" name="矩形 121">
            <a:extLst>
              <a:ext uri="{FF2B5EF4-FFF2-40B4-BE49-F238E27FC236}">
                <a16:creationId xmlns:a16="http://schemas.microsoft.com/office/drawing/2014/main" id="{7FFF5C18-FAD5-98B4-8033-B85B1FC36050}"/>
              </a:ext>
            </a:extLst>
          </p:cNvPr>
          <p:cNvSpPr/>
          <p:nvPr/>
        </p:nvSpPr>
        <p:spPr>
          <a:xfrm>
            <a:off x="2028826" y="4219576"/>
            <a:ext cx="2239962" cy="4727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305DA93-495D-3429-0D23-05A991A8D5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79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5" imgW="473" imgH="476" progId="TCLayout.ActiveDocument.1">
                  <p:embed/>
                </p:oleObj>
              </mc:Choice>
              <mc:Fallback>
                <p:oleObj name="think-cell 幻灯片" r:id="rId45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5DA93-495D-3429-0D23-05A991A8D5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55FB879D-49C4-3AD6-1024-6EF4C4A1F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西乐葆、乐瑞卡渠道购进和市场份额较去年均下跌</a:t>
            </a:r>
            <a:b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左洛复、立普妥、万艾可、怡诺思市场份额较去年有所下滑</a:t>
            </a:r>
            <a:b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65" name="直接连接符 464">
            <a:extLst>
              <a:ext uri="{FF2B5EF4-FFF2-40B4-BE49-F238E27FC236}">
                <a16:creationId xmlns:a16="http://schemas.microsoft.com/office/drawing/2014/main" id="{7EF523CD-E21C-FAAD-5B43-E08707863EA9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675063" y="1990725"/>
            <a:ext cx="0" cy="3875088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1" name="直接连接符 470">
            <a:extLst>
              <a:ext uri="{FF2B5EF4-FFF2-40B4-BE49-F238E27FC236}">
                <a16:creationId xmlns:a16="http://schemas.microsoft.com/office/drawing/2014/main" id="{1C276F67-F41B-7B92-73E6-D386EA641E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9005888" y="1990725"/>
            <a:ext cx="0" cy="3875088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直接连接符 529">
            <a:extLst>
              <a:ext uri="{FF2B5EF4-FFF2-40B4-BE49-F238E27FC236}">
                <a16:creationId xmlns:a16="http://schemas.microsoft.com/office/drawing/2014/main" id="{C29C918B-6808-5F67-A303-F181759D99B1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913063" y="3540125"/>
            <a:ext cx="60928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1" name="直接连接符 530">
            <a:extLst>
              <a:ext uri="{FF2B5EF4-FFF2-40B4-BE49-F238E27FC236}">
                <a16:creationId xmlns:a16="http://schemas.microsoft.com/office/drawing/2014/main" id="{17AFF1CF-EAF7-C1F8-E9A5-F96D165B9F23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913063" y="1990725"/>
            <a:ext cx="60928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10" name="Chart 3">
            <a:extLst>
              <a:ext uri="{FF2B5EF4-FFF2-40B4-BE49-F238E27FC236}">
                <a16:creationId xmlns:a16="http://schemas.microsoft.com/office/drawing/2014/main" id="{981F4461-F41E-3025-2835-FB147EC0FC3C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76646793"/>
              </p:ext>
            </p:extLst>
          </p:nvPr>
        </p:nvGraphicFramePr>
        <p:xfrm>
          <a:off x="2249488" y="1809750"/>
          <a:ext cx="709136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605" name="直接连接符 604">
            <a:extLst>
              <a:ext uri="{FF2B5EF4-FFF2-40B4-BE49-F238E27FC236}">
                <a16:creationId xmlns:a16="http://schemas.microsoft.com/office/drawing/2014/main" id="{4963DAD4-8E28-64DD-4AAD-14E4EA1C018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4033838" y="3189288"/>
            <a:ext cx="22225" cy="14128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6" name="直接连接符 605">
            <a:extLst>
              <a:ext uri="{FF2B5EF4-FFF2-40B4-BE49-F238E27FC236}">
                <a16:creationId xmlns:a16="http://schemas.microsoft.com/office/drawing/2014/main" id="{DFFD9DB4-EB8E-669B-070F-C439A7F13BD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3448050" y="3187700"/>
            <a:ext cx="38100" cy="7302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7" name="直接连接符 606">
            <a:extLst>
              <a:ext uri="{FF2B5EF4-FFF2-40B4-BE49-F238E27FC236}">
                <a16:creationId xmlns:a16="http://schemas.microsoft.com/office/drawing/2014/main" id="{AF5CF4D7-6E1A-8663-8B2A-815F7A35778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 flipV="1">
            <a:off x="4103688" y="4148138"/>
            <a:ext cx="0" cy="10318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8" name="直接连接符 607">
            <a:extLst>
              <a:ext uri="{FF2B5EF4-FFF2-40B4-BE49-F238E27FC236}">
                <a16:creationId xmlns:a16="http://schemas.microsoft.com/office/drawing/2014/main" id="{EBFC9F46-268E-2972-4244-0E957E722E6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 flipV="1">
            <a:off x="4264025" y="3719513"/>
            <a:ext cx="333375" cy="3333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9" name="直接连接符 608">
            <a:extLst>
              <a:ext uri="{FF2B5EF4-FFF2-40B4-BE49-F238E27FC236}">
                <a16:creationId xmlns:a16="http://schemas.microsoft.com/office/drawing/2014/main" id="{2069D993-7E35-29AF-54DF-CEAD38CC318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4621213" y="3228975"/>
            <a:ext cx="30162" cy="4445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2" name="Text Placeholder 3">
            <a:extLst>
              <a:ext uri="{FF2B5EF4-FFF2-40B4-BE49-F238E27FC236}">
                <a16:creationId xmlns:a16="http://schemas.microsoft.com/office/drawing/2014/main" id="{4BCC02E0-7A1B-A9E8-B374-610A79F00D1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718425" y="218916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C215369-E526-4861-A559-83EBCC02194F}" type="datetime'利''''''''''加''''''''''''''''''''隆''''''''''''''''''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利加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3" name="Text Placeholder 3">
            <a:extLst>
              <a:ext uri="{FF2B5EF4-FFF2-40B4-BE49-F238E27FC236}">
                <a16:creationId xmlns:a16="http://schemas.microsoft.com/office/drawing/2014/main" id="{E4AB7981-F4E2-70D2-6383-5142E58AF47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294313" y="3597275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6BA265E-E479-4AE4-A00E-4948BDB750C2}" type="datetime'''''''''''''''爱''宁''''''''''''''''达''''''''''''''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爱宁达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4" name="Text Placeholder 3">
            <a:extLst>
              <a:ext uri="{FF2B5EF4-FFF2-40B4-BE49-F238E27FC236}">
                <a16:creationId xmlns:a16="http://schemas.microsoft.com/office/drawing/2014/main" id="{CFB7C5EB-6C59-BF57-D4E2-2885D5174A8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418013" y="2859088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8F457EC-A95F-4BEA-A8E8-23398568186C}" type="datetime'维''''固''''''''''''''''''''''''''''''力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维固力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13" name="Text Placeholder 3">
            <a:extLst>
              <a:ext uri="{FF2B5EF4-FFF2-40B4-BE49-F238E27FC236}">
                <a16:creationId xmlns:a16="http://schemas.microsoft.com/office/drawing/2014/main" id="{17F3B7F0-5584-8227-872C-6509F8A69F5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513263" y="4184650"/>
            <a:ext cx="6873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EA3248-0D55-499E-B44F-7AD79917778C}" type="datetime'''''''''5''''''''''.''''''''''''''''''''''''''''9''''%'''">
              <a:rPr lang="en-US" altLang="en-US" sz="1000" smtClean="0">
                <a:latin typeface="+mn-lt"/>
                <a:cs typeface="+mn-cs"/>
              </a:rPr>
              <a:pPr/>
              <a:t>5.9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67B88246-BFB2-4038-AE5D-8F838A804DE9}" type="datetime'''''''''-''''''''''0''''''''''''''''''.''''''''''''''''''2''%'">
              <a:rPr lang="en-US" altLang="en-US" sz="1000" smtClean="0">
                <a:latin typeface="+mn-lt"/>
                <a:cs typeface="+mn-cs"/>
              </a:rPr>
              <a:pPr/>
              <a:t>-0.2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17" name="Text Placeholder 3">
            <a:extLst>
              <a:ext uri="{FF2B5EF4-FFF2-40B4-BE49-F238E27FC236}">
                <a16:creationId xmlns:a16="http://schemas.microsoft.com/office/drawing/2014/main" id="{CF5E2072-AED3-420D-DCA4-97F70D26F37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60788" y="3021013"/>
            <a:ext cx="644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D410904-7D41-4C3F-B8AF-ADB7C38D7C02}" type="datetime'''''''''''''''''4''''''''''''''.''''''''''''''''''''''3''%'">
              <a:rPr lang="en-US" altLang="en-US" sz="1000" smtClean="0">
                <a:latin typeface="+mn-lt"/>
                <a:cs typeface="+mn-cs"/>
              </a:rPr>
              <a:pPr/>
              <a:t>4.3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948F0956-89FB-4C30-A88B-BF85B25E1FD1}" type="datetime'''''''''''''''''''''''''''0.''''''''''0''''''''''''''''''%'">
              <a:rPr lang="en-US" altLang="en-US" sz="1000" smtClean="0">
                <a:latin typeface="+mn-lt"/>
                <a:cs typeface="+mn-cs"/>
              </a:rPr>
              <a:pPr/>
              <a:t>0.0%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418" name="Text Placeholder 3">
            <a:extLst>
              <a:ext uri="{FF2B5EF4-FFF2-40B4-BE49-F238E27FC236}">
                <a16:creationId xmlns:a16="http://schemas.microsoft.com/office/drawing/2014/main" id="{6490860E-ADED-5197-D44B-4EDC913D076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005138" y="3019425"/>
            <a:ext cx="687388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104ED4B-5C40-4427-B77A-74557D610A3C}" type="datetime'''0''''''''.5''''''''''''''''''''''''%'''''''">
              <a:rPr lang="en-US" altLang="en-US" sz="10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0.5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F1EF0C42-CE9B-4382-A954-ABAA99C5F950}" type="datetime'''''''''''''''''''''''''''''''''-0.''''''''''1''''''''%'''''''">
              <a:rPr lang="en-US" altLang="en-US" sz="10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19" name="Text Placeholder 3">
            <a:extLst>
              <a:ext uri="{FF2B5EF4-FFF2-40B4-BE49-F238E27FC236}">
                <a16:creationId xmlns:a16="http://schemas.microsoft.com/office/drawing/2014/main" id="{79CF372C-5DD3-74C1-81D8-E66DACA9B57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30525" y="4416425"/>
            <a:ext cx="7302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E49ECB2-3A98-4F0D-9D6F-F07FC8FB57F7}" type="datetime'-6.''''''''4''''''''''''''''''''%'''''''''''''''''''">
              <a:rPr lang="en-US" altLang="en-US" sz="1000" smtClean="0">
                <a:latin typeface="+mn-lt"/>
                <a:cs typeface="+mn-cs"/>
              </a:rPr>
              <a:pPr/>
              <a:t>-6.4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80875F3D-F66F-431F-A016-287A7E9790E4}" type="datetime'-''''''''''''''''''''0''.''''''''''''''''2''''''''%'''''''''">
              <a:rPr lang="en-US" altLang="en-US" sz="1000" smtClean="0">
                <a:latin typeface="+mn-lt"/>
                <a:cs typeface="+mn-cs"/>
              </a:rPr>
              <a:pPr/>
              <a:t>-0.2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3ABC07-BAC6-D2CF-C122-D311E39F42E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280525" y="576580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4D5AEC8-5174-4996-9F6F-C0DC1D1E5AA3}" type="datetime'''毛''销''''''售额增''''''长''''''''''''''''''''率'''''''''''''''''''">
              <a:rPr lang="zh-CN" altLang="en-US" smtClean="0">
                <a:latin typeface="+mn-lt"/>
                <a:cs typeface="+mn-cs"/>
              </a:rPr>
              <a:pPr/>
              <a:t>毛销售额增长率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1" name="Text Placeholder 3">
            <a:extLst>
              <a:ext uri="{FF2B5EF4-FFF2-40B4-BE49-F238E27FC236}">
                <a16:creationId xmlns:a16="http://schemas.microsoft.com/office/drawing/2014/main" id="{C1AA4B55-1758-5947-0740-4D60275A18E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760788" y="4452938"/>
            <a:ext cx="6873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011B99F-AB3A-425B-9082-171EC3155755}" type="datetime'''''''''5''''''''''''''''.6''''''''%'">
              <a:rPr lang="en-US" altLang="en-US" sz="1000" smtClean="0">
                <a:latin typeface="+mn-lt"/>
                <a:cs typeface="+mn-cs"/>
              </a:rPr>
              <a:pPr/>
              <a:t>5.6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3903CE46-6B6D-4F99-9403-685183271352}" type="datetime'''''''-''0''''''''.''''''''''''''3''''''''%'''''''''''">
              <a:rPr lang="en-US" altLang="en-US" sz="1000" smtClean="0">
                <a:latin typeface="+mn-lt"/>
                <a:cs typeface="+mn-cs"/>
              </a:rPr>
              <a:pPr/>
              <a:t>-0.3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2" name="Text Placeholder 3">
            <a:extLst>
              <a:ext uri="{FF2B5EF4-FFF2-40B4-BE49-F238E27FC236}">
                <a16:creationId xmlns:a16="http://schemas.microsoft.com/office/drawing/2014/main" id="{222F8A2A-0A36-A85E-9EFA-93443FE189E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597400" y="3803650"/>
            <a:ext cx="6873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F210F8B-9BB3-4CD7-97D7-DE66B03C25FA}" type="datetime'''''''''''''''''''''''''6''.''''2''''''''''''''''''%'''''">
              <a:rPr lang="en-US" altLang="en-US" sz="1000" smtClean="0">
                <a:latin typeface="+mn-lt"/>
                <a:cs typeface="+mn-cs"/>
              </a:rPr>
              <a:pPr/>
              <a:t>6.2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C70CB136-CF21-497B-B664-3A30B833B8BF}" type="datetime'-''''''''''''''''''''''''''''''''0''''''''''''''.''''1%'''">
              <a:rPr lang="en-US" altLang="en-US" sz="1000" smtClean="0">
                <a:latin typeface="+mn-lt"/>
                <a:cs typeface="+mn-cs"/>
              </a:rPr>
              <a:pPr/>
              <a:t>-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3" name="Text Placeholder 3">
            <a:extLst>
              <a:ext uri="{FF2B5EF4-FFF2-40B4-BE49-F238E27FC236}">
                <a16:creationId xmlns:a16="http://schemas.microsoft.com/office/drawing/2014/main" id="{2B883216-9479-468A-72D0-F2F15B88F25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892801" y="3262313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307C96C-AAF6-4D16-B5FB-35ACA2051BA4}" type="datetime'''2''''''''''''4''''''''.''''''''''7%'''''''''''''''">
              <a:rPr lang="en-US" altLang="en-US" sz="1000" smtClean="0">
                <a:latin typeface="+mn-lt"/>
                <a:cs typeface="+mn-cs"/>
              </a:rPr>
              <a:pPr/>
              <a:t>24.7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B93C3206-307F-4D55-9198-D015B6181C68}" type="datetime'''0''''.''''''''''''''''''''2''%'''''''">
              <a:rPr lang="en-US" altLang="en-US" sz="1000" smtClean="0">
                <a:latin typeface="+mn-lt"/>
                <a:cs typeface="+mn-cs"/>
              </a:rPr>
              <a:pPr/>
              <a:t>0.2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4" name="Text Placeholder 3">
            <a:extLst>
              <a:ext uri="{FF2B5EF4-FFF2-40B4-BE49-F238E27FC236}">
                <a16:creationId xmlns:a16="http://schemas.microsoft.com/office/drawing/2014/main" id="{AC38DB3E-0982-3AF6-4ACF-3772ADA5FE1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718425" y="2390775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49FC99D-F9D6-4FBD-BED3-B2CFB7055598}" type="datetime'''''6''''''''''5''''''''''''.''''''8''''''''''''%'''''''''''''">
              <a:rPr lang="en-US" altLang="en-US" sz="1000" smtClean="0">
                <a:latin typeface="+mn-lt"/>
                <a:cs typeface="+mn-cs"/>
              </a:rPr>
              <a:pPr/>
              <a:t>65.8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1C9B3152-BBC6-44CA-89AF-51BBA39A6A3C}" type="datetime'0.''''''''''''''''''''8''''''''''%'''''''''''''''''''''">
              <a:rPr lang="en-US" altLang="en-US" sz="1000" smtClean="0">
                <a:latin typeface="+mn-lt"/>
                <a:cs typeface="+mn-cs"/>
              </a:rPr>
              <a:pPr/>
              <a:t>0.8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5" name="Text Placeholder 3">
            <a:extLst>
              <a:ext uri="{FF2B5EF4-FFF2-40B4-BE49-F238E27FC236}">
                <a16:creationId xmlns:a16="http://schemas.microsoft.com/office/drawing/2014/main" id="{213CB26B-BD65-6613-AFAD-5C24261206F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94313" y="3798888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DF45830-974A-4C62-AFF4-6F505C328448}" type="datetime'''''''''''''''''''2''''''''''''''''''''5''''''.''5''''''''%'">
              <a:rPr lang="en-US" altLang="en-US" sz="1000" smtClean="0">
                <a:latin typeface="+mn-lt"/>
                <a:cs typeface="+mn-cs"/>
              </a:rPr>
              <a:pPr/>
              <a:t>25.5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B477E5A8-5A31-4CFE-BA6F-1BA39FB65578}" type="datetime'''''''''''''''''''''0''.''''''''''''''1%'''''''''''">
              <a:rPr lang="en-US" altLang="en-US" sz="1000" smtClean="0">
                <a:latin typeface="+mn-lt"/>
                <a:cs typeface="+mn-cs"/>
              </a:rPr>
              <a:pPr/>
              <a:t>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6" name="Text Placeholder 3">
            <a:extLst>
              <a:ext uri="{FF2B5EF4-FFF2-40B4-BE49-F238E27FC236}">
                <a16:creationId xmlns:a16="http://schemas.microsoft.com/office/drawing/2014/main" id="{1AE7992E-D6A9-0457-1738-E4059D76E0B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18013" y="3060700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4594EEB-90FD-409E-9777-44556C48DFE6}" type="datetime'''''''''1''''''''''''''''''''''1''''''.''2''%'''''''''''">
              <a:rPr lang="en-US" altLang="en-US" sz="1000" smtClean="0">
                <a:latin typeface="+mn-lt"/>
                <a:cs typeface="+mn-cs"/>
              </a:rPr>
              <a:pPr/>
              <a:t>11.2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0D99EC8E-5C55-473E-B78C-37AC7B4E2CC0}" type="datetime'''0''''.''''''1''''''''%'''''''''">
              <a:rPr lang="en-US" altLang="en-US" sz="1000" smtClean="0">
                <a:latin typeface="+mn-lt"/>
                <a:cs typeface="+mn-cs"/>
              </a:rPr>
              <a:pPr/>
              <a:t>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CF938BD-1A32-283E-FFB3-7F782FE332A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608263" y="156210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6F3DE0-69DC-441C-9B03-E5A4052CCCFF}" type="datetime'''''''''''''''''''''份''''''额变化'''''''''">
              <a:rPr lang="zh-CN" altLang="en-US" smtClean="0">
                <a:latin typeface="+mn-lt"/>
                <a:cs typeface="+mn-cs"/>
              </a:rPr>
              <a:pPr/>
              <a:t>份额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4" name="Text Placeholder 3">
            <a:extLst>
              <a:ext uri="{FF2B5EF4-FFF2-40B4-BE49-F238E27FC236}">
                <a16:creationId xmlns:a16="http://schemas.microsoft.com/office/drawing/2014/main" id="{42D37D27-F5B5-79CC-237C-0FE97EE5033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513263" y="3983038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C0CDD89-B00F-4050-A751-63DE02A929A1}" type="datetime'立''''''''''''''''''''''''''''''''''''''''''''普''妥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立普妥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5" name="Text Placeholder 3">
            <a:extLst>
              <a:ext uri="{FF2B5EF4-FFF2-40B4-BE49-F238E27FC236}">
                <a16:creationId xmlns:a16="http://schemas.microsoft.com/office/drawing/2014/main" id="{5FB799B1-0A35-BC5A-A1E2-F73DABAC4F8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760788" y="2819400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E68EDAB-2DD7-49F9-9DAD-2FD6CB71D1A8}" type="datetime'''''络''''''''活''''''喜''''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络活喜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6" name="Text Placeholder 3">
            <a:extLst>
              <a:ext uri="{FF2B5EF4-FFF2-40B4-BE49-F238E27FC236}">
                <a16:creationId xmlns:a16="http://schemas.microsoft.com/office/drawing/2014/main" id="{E3DAA97C-387C-68CA-023E-5F36FDA219E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005138" y="281781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F680A99-9D66-4AB6-896E-F601CCA92E44}" type="datetime'''''''''''万''''''''''''''''''''''''''''''''艾''''可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万艾可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7" name="Text Placeholder 3">
            <a:extLst>
              <a:ext uri="{FF2B5EF4-FFF2-40B4-BE49-F238E27FC236}">
                <a16:creationId xmlns:a16="http://schemas.microsoft.com/office/drawing/2014/main" id="{00CCF0FF-677C-9338-B2D6-90E0C0B9787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930525" y="421481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6C493BB-CCC9-413E-8AD7-AF961833F1C8}" type="datetime'''''''''''''''''''''''''''西''''乐''''''''''葆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西乐葆</a:t>
            </a:fld>
            <a:endParaRPr lang="en-US" dirty="0">
              <a:latin typeface="+mn-lt"/>
              <a:cs typeface="+mn-cs"/>
            </a:endParaRPr>
          </a:p>
        </p:txBody>
      </p:sp>
      <p:sp useBgFill="1">
        <p:nvSpPr>
          <p:cNvPr id="268" name="Text Placeholder 3">
            <a:extLst>
              <a:ext uri="{FF2B5EF4-FFF2-40B4-BE49-F238E27FC236}">
                <a16:creationId xmlns:a16="http://schemas.microsoft.com/office/drawing/2014/main" id="{B1F67D94-A55F-6E87-F56B-AA047B69AA3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475038" y="5330825"/>
            <a:ext cx="501650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8C6B238-E8FE-491E-A1E0-0908DFDE4A55}" type="datetime'''''''''''乐''''''''''''''''''''''''''瑞''''''卡''''''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乐瑞卡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9" name="Text Placeholder 3">
            <a:extLst>
              <a:ext uri="{FF2B5EF4-FFF2-40B4-BE49-F238E27FC236}">
                <a16:creationId xmlns:a16="http://schemas.microsoft.com/office/drawing/2014/main" id="{CCD82100-CFBF-6D5A-1C7B-EB538DAF629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760788" y="4251325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98B61AB-5A40-4724-9A6C-C79C94A70D22}" type="datetime'''''左''''''''''''''洛''复''''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左洛复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0" name="Text Placeholder 3">
            <a:extLst>
              <a:ext uri="{FF2B5EF4-FFF2-40B4-BE49-F238E27FC236}">
                <a16:creationId xmlns:a16="http://schemas.microsoft.com/office/drawing/2014/main" id="{F212CDA8-C9F1-586D-4BF6-0BAAE3E9060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97400" y="3602038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379788E-C8A5-4281-9828-21DE6EF10053}" type="datetime'''''''''''''''''''''''''怡''''''''''''''''''''''''''''''诺''思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怡诺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1" name="Text Placeholder 3">
            <a:extLst>
              <a:ext uri="{FF2B5EF4-FFF2-40B4-BE49-F238E27FC236}">
                <a16:creationId xmlns:a16="http://schemas.microsoft.com/office/drawing/2014/main" id="{781F84A9-0E53-0126-5FAF-B7CFE5A6728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892800" y="3060700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BD09539-837B-4113-85A8-B58C7AB5848E}" type="datetime'''''''''''''''''''可''''''''''多''''华'''''''''">
              <a:rPr lang="zh-CN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可多华</a:t>
            </a:fld>
            <a:endParaRPr lang="en-US" dirty="0">
              <a:latin typeface="+mn-lt"/>
              <a:cs typeface="+mn-cs"/>
            </a:endParaRPr>
          </a:p>
        </p:txBody>
      </p:sp>
      <p:sp useBgFill="1">
        <p:nvSpPr>
          <p:cNvPr id="420" name="Text Placeholder 3">
            <a:extLst>
              <a:ext uri="{FF2B5EF4-FFF2-40B4-BE49-F238E27FC236}">
                <a16:creationId xmlns:a16="http://schemas.microsoft.com/office/drawing/2014/main" id="{FF50771F-D43A-AB6A-733E-9A2A14FF01A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475038" y="5532438"/>
            <a:ext cx="730250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AA65ED4-CDBB-4246-90A1-98C3F7E28F7A}" type="datetime'''''''''''''-''''''7''''.''''''''''''''1''''''''%'''''''''''''">
              <a:rPr lang="en-US" altLang="en-US" sz="1000" smtClean="0">
                <a:latin typeface="+mn-lt"/>
                <a:cs typeface="+mn-cs"/>
              </a:rPr>
              <a:pPr/>
              <a:t>-7.1%</a:t>
            </a:fld>
            <a:r>
              <a:rPr lang="en-US" altLang="en-US" sz="1000">
                <a:effectLst/>
                <a:latin typeface="+mn-lt"/>
                <a:cs typeface="+mn-cs"/>
              </a:rPr>
              <a:t>/</a:t>
            </a:r>
            <a:fld id="{EDF9B958-0DA7-411C-8E51-8A5B10C18213}" type="datetime'-''''''''''''''1.''''3''''''''''''%'''''''''''''''''''">
              <a:rPr lang="en-US" altLang="en-US" sz="1000" smtClean="0">
                <a:latin typeface="+mn-lt"/>
                <a:cs typeface="+mn-cs"/>
              </a:rPr>
              <a:pPr/>
              <a:t>-1.3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24" name="椭圆 123">
            <a:extLst>
              <a:ext uri="{FF2B5EF4-FFF2-40B4-BE49-F238E27FC236}">
                <a16:creationId xmlns:a16="http://schemas.microsoft.com/office/drawing/2014/main" id="{73F51571-3D31-BB8F-096E-3CC0B86B3E5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091613" y="2068513"/>
            <a:ext cx="161925" cy="161925"/>
          </a:xfrm>
          <a:prstGeom prst="ellipse">
            <a:avLst/>
          </a:prstGeom>
          <a:solidFill>
            <a:srgbClr val="B78FCA"/>
          </a:solidFill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5" name="椭圆 124">
            <a:extLst>
              <a:ext uri="{FF2B5EF4-FFF2-40B4-BE49-F238E27FC236}">
                <a16:creationId xmlns:a16="http://schemas.microsoft.com/office/drawing/2014/main" id="{0343D8F9-65A3-A260-B28A-B492B2202015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091613" y="2320925"/>
            <a:ext cx="161925" cy="161925"/>
          </a:xfrm>
          <a:prstGeom prst="ellipse">
            <a:avLst/>
          </a:prstGeom>
          <a:solidFill>
            <a:srgbClr val="703E97"/>
          </a:solidFill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6" name="椭圆 125">
            <a:extLst>
              <a:ext uri="{FF2B5EF4-FFF2-40B4-BE49-F238E27FC236}">
                <a16:creationId xmlns:a16="http://schemas.microsoft.com/office/drawing/2014/main" id="{BA8B0477-AD56-8E70-0395-1ADF15E447F4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091613" y="2573338"/>
            <a:ext cx="161925" cy="161925"/>
          </a:xfrm>
          <a:prstGeom prst="ellipse">
            <a:avLst/>
          </a:prstGeom>
          <a:solidFill>
            <a:srgbClr val="2A276E"/>
          </a:solidFill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0" name="Text Placeholder 3">
            <a:extLst>
              <a:ext uri="{FF2B5EF4-FFF2-40B4-BE49-F238E27FC236}">
                <a16:creationId xmlns:a16="http://schemas.microsoft.com/office/drawing/2014/main" id="{69FF4D9B-F53F-ACB4-166C-D14DB4F0F507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331325" y="2051050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E7281D5-23BC-4A5F-B930-A3068A8A17B9}" type="datetime'''购进''''''''''''增长''''''''''，份''''''''额''下''''''''跌'''''">
              <a:rPr lang="zh-CN" altLang="en-US" smtClean="0">
                <a:latin typeface="+mn-lt"/>
                <a:cs typeface="+mn-cs"/>
              </a:rPr>
              <a:pPr/>
              <a:t>购进增长，份额下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2" name="Text Placeholder 3">
            <a:extLst>
              <a:ext uri="{FF2B5EF4-FFF2-40B4-BE49-F238E27FC236}">
                <a16:creationId xmlns:a16="http://schemas.microsoft.com/office/drawing/2014/main" id="{BBA79E20-9229-BDDD-5D71-AC278B3550B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331325" y="2303463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4C7B6FD-1773-4C83-AAD3-7F5A8407978B}" type="datetime'''购''进''和份''''''''''''''''''额双''''''''''跌'''''''''''''''''''''">
              <a:rPr lang="zh-CN" altLang="en-US" smtClean="0">
                <a:latin typeface="+mn-lt"/>
                <a:cs typeface="+mn-cs"/>
              </a:rPr>
              <a:pPr/>
              <a:t>购进和份额双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3" name="Text Placeholder 3">
            <a:extLst>
              <a:ext uri="{FF2B5EF4-FFF2-40B4-BE49-F238E27FC236}">
                <a16:creationId xmlns:a16="http://schemas.microsoft.com/office/drawing/2014/main" id="{0845FA76-57BF-1C64-D308-80DEBA64A5D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331325" y="2555875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0545287-FB6A-4581-9EBD-9EA2EBE0DE1B}" type="datetime'''''购''''''进和''''''''份''''额''''双''''''''''''''''''''增'''''">
              <a:rPr lang="zh-CN" altLang="en-US" smtClean="0">
                <a:latin typeface="+mn-lt"/>
                <a:cs typeface="+mn-cs"/>
              </a:rPr>
              <a:pPr/>
              <a:t>购进和份额双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57" name="椭圆 556">
            <a:extLst>
              <a:ext uri="{FF2B5EF4-FFF2-40B4-BE49-F238E27FC236}">
                <a16:creationId xmlns:a16="http://schemas.microsoft.com/office/drawing/2014/main" id="{F9A5B3FB-2117-EDB9-3358-ABAA8B800EF7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9067800" y="2879725"/>
            <a:ext cx="488950" cy="488950"/>
          </a:xfrm>
          <a:prstGeom prst="ellipse">
            <a:avLst/>
          </a:prstGeom>
          <a:noFill/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55" name="Text Placeholder 3">
            <a:extLst>
              <a:ext uri="{FF2B5EF4-FFF2-40B4-BE49-F238E27FC236}">
                <a16:creationId xmlns:a16="http://schemas.microsoft.com/office/drawing/2014/main" id="{6F0A8082-0442-A78D-992A-1F295229106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9609138" y="3025775"/>
            <a:ext cx="8032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latin typeface="+mn-lt"/>
                <a:cs typeface="+mn-cs"/>
              </a:rPr>
              <a:t>份额：</a:t>
            </a:r>
            <a:fld id="{2B6C621E-0E58-450C-9053-6B6CBE8BDC40}" type="datetime'''''''''''''''''''''''''''''''''2''.''''''5''%'''''''''''''">
              <a:rPr lang="en-US" altLang="en-US" smtClean="0">
                <a:latin typeface="+mn-lt"/>
                <a:cs typeface="+mn-cs"/>
              </a:rPr>
              <a:pPr/>
              <a:t>2.5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76" name="矩形 575">
            <a:extLst>
              <a:ext uri="{FF2B5EF4-FFF2-40B4-BE49-F238E27FC236}">
                <a16:creationId xmlns:a16="http://schemas.microsoft.com/office/drawing/2014/main" id="{31A080CC-9697-5E52-78B5-505FD44A5672}"/>
              </a:ext>
            </a:extLst>
          </p:cNvPr>
          <p:cNvSpPr/>
          <p:nvPr/>
        </p:nvSpPr>
        <p:spPr>
          <a:xfrm>
            <a:off x="1" y="1060662"/>
            <a:ext cx="5284787" cy="34290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品牌全渠道毛销售额增长率（</a:t>
            </a:r>
            <a:r>
              <a:rPr lang="en-US" altLang="zh-CN" sz="1200" b="1" dirty="0">
                <a:solidFill>
                  <a:schemeClr val="bg1"/>
                </a:solidFill>
              </a:rPr>
              <a:t>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r>
              <a:rPr lang="en-US" altLang="zh-CN" sz="1200" b="1" dirty="0">
                <a:solidFill>
                  <a:schemeClr val="bg1"/>
                </a:solidFill>
              </a:rPr>
              <a:t>vs </a:t>
            </a:r>
            <a:r>
              <a:rPr lang="zh-CN" altLang="en-US" sz="1200" b="1" dirty="0">
                <a:solidFill>
                  <a:schemeClr val="bg1"/>
                </a:solidFill>
              </a:rPr>
              <a:t>市场份额（</a:t>
            </a:r>
            <a:r>
              <a:rPr lang="en-US" altLang="zh-CN" sz="1200" b="1" dirty="0">
                <a:solidFill>
                  <a:schemeClr val="bg1"/>
                </a:solidFill>
              </a:rPr>
              <a:t>2508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20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.&quot; ThousandSeparator=&quot;,&quot; NegativeNumberFormat=&quot;1&quot; /&gt;&lt;Font&gt;&lt;Output_Font_Name Default=&quot;Arial&quot; UsePPTTheme=&quot;True&quot; /&gt;&lt;FarEast_Output_Font_Name Default=&quot;Microsoft YaHei&quot; UsePPTTheme=&quot;True&quot; RotateAndFlipEnabled=&quot;False&quot; /&gt;&lt;/Font&gt;&lt;DateFormat CultureID=&quot;2052&quot; FormatString=&quot;yyyy/M/d&quot; /&gt;&lt;Units&gt;&lt;_1-_1_Million Text=&quot;百万&quot; Number_Spaces_Between_Units__x0026__Currency=&quot;1&quot; Number_of_Spaces_Before=&quot;0&quot; /&gt;&lt;_1-_10_Million Text=&quot;千万&quot; Number_Spaces_Between_Units__x0026__Currency=&quot;1&quot; Number_of_Spaces_Before=&quot;0&quot; /&gt;&lt;_1-_100_Million Text=&quot;亿&quot; Number_Spaces_Between_Units__x0026__Currency=&quot;1&quot; Number_of_Spaces_Before=&quot;0&quot; /&gt;&lt;_2-_1_Billion Text=&quot;十亿&quot; Number_Spaces_Between_Units__x0026__Currency=&quot;1&quot; Number_of_Spaces_Before=&quot;0&quot; /&gt;&lt;_3-_10_Thousand Text=&quot;万&quot; Number_Spaces_Between_Units__x0026__Currency=&quot;1&quot; Number_of_Spaces_Before=&quot;0&quot; /&gt;&lt;_3-_100_Thousand Text=&quot;十万&quot; Number_Spaces_Between_Units__x0026__Currency=&quot;1&quot; Number_of_Spaces_Before=&quot;0&quot; /&gt;&lt;/Units&gt;&lt;/MekkoFormats&gt;"/>
  <p:tag name="OFFICE" val="Shanghai"/>
  <p:tag name="BTFPCOLUMNGUIDE" val="Client"/>
  <p:tag name="MEKKOMRUCOLORS" val="&lt;?xml version=&quot;1.0&quot; encoding=&quot;utf-8&quot;?&gt;&#10;&lt;MRU&gt;&#10;  &lt;CustomColorsMRU&gt;&#10;    &lt;Color aRGB=&quot;FF4540B3&quot; Intensity=&quot;3&quot; /&gt;&#10;    &lt;Color aRGB=&quot;FFCBB2DF&quot; Intensity=&quot;1&quot; /&gt;&#10;    &lt;Color aRGB=&quot;FF9B6AC2&quot; Intensity=&quot;1&quot; /&gt;&#10;    &lt;Color aRGB=&quot;FF884DB6&quot; Intensity=&quot;1&quot; /&gt;&#10;    &lt;Color aRGB=&quot;FF2A276D&quot; Intensity=&quot;3&quot; /&gt;&#10;    &lt;Color aRGB=&quot;FF365571&quot; Intensity=&quot;3&quot; /&gt;&#10;    &lt;Color aRGB=&quot;FF9FBBFE&quot; Intensity=&quot;1&quot; /&gt;&#10;    &lt;Color aRGB=&quot;FF310AA6&quot; Intensity=&quot;3&quot; /&gt;&#10;    &lt;Color aRGB=&quot;FF703E97&quot; Intensity=&quot;3&quot; /&gt;&#10;    &lt;Color aRGB=&quot;FF9900CC&quot; Intensity=&quot;3&quot; /&gt;&#10;    &lt;Color aRGB=&quot;FF940094&quot; Intensity=&quot;3&quot; /&gt;&#10;  &lt;/CustomColorsMRU&gt;&#10;  &lt;ColorsPatternsMRU&gt;&#10;    &lt;Button ID=&quot;menuFontColor&quot; Color=&quot;4&quot; /&gt;&#10;    &lt;Button ID=&quot;menuSeriesColor&quot; Color=&quot;11&quot; /&gt;&#10;  &lt;/ColorsPatternsMRU&gt;&#10;&lt;/MRU&gt;"/>
  <p:tag name="EE4P_STYLE_ID" val="n7zCPPqL"/>
  <p:tag name="THINKCELLUNDODONOTDELETE" val="0"/>
  <p:tag name="THINKCELLPRESENTATIONDONOTDELETE" val="&lt;?xml version=&quot;1.0&quot; encoding=&quot;UTF-16&quot; standalone=&quot;yes&quot;?&gt;&lt;root reqver=&quot;28224&quot;&gt;&lt;version val=&quot;357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2.06677181699666601133E+00&quot;&gt;&lt;m_msothmcolidx val=&quot;0&quot;/&gt;&lt;m_rgb r=&quot;9E&quot; g=&quot;DA&quot; b=&quot;9E&quot;/&gt;&lt;/elem&gt;&lt;elem m_fUsage=&quot;1.81529356905351058060E+00&quot;&gt;&lt;m_msothmcolidx val=&quot;0&quot;/&gt;&lt;m_rgb r=&quot;F9&quot; g=&quot;18&quot; b=&quot;00&quot;/&gt;&lt;/elem&gt;&lt;elem m_fUsage=&quot;1.77803100000000013914E+00&quot;&gt;&lt;m_msothmcolidx val=&quot;0&quot;/&gt;&lt;m_rgb r=&quot;CC&quot; g=&quot;B4&quot; b=&quot;E0&quot;/&gt;&lt;/elem&gt;&lt;elem m_fUsage=&quot;1.53899999999999992362E+00&quot;&gt;&lt;m_msothmcolidx val=&quot;0&quot;/&gt;&lt;m_rgb r=&quot;D6&quot; g=&quot;D7&quot; b=&quot;D9&quot;/&gt;&lt;/elem&gt;&lt;elem m_fUsage=&quot;1.18998545780545450512E+00&quot;&gt;&lt;m_msothmcolidx val=&quot;0&quot;/&gt;&lt;m_rgb r=&quot;C4&quot; g=&quot;A8&quot; b=&quot;DB&quot;/&gt;&lt;/elem&gt;&lt;elem m_fUsage=&quot;6.36358342094649143128E-01&quot;&gt;&lt;m_msothmcolidx val=&quot;0&quot;/&gt;&lt;m_rgb r=&quot;7A&quot; g=&quot;00&quot; b=&quot;0E&quot;/&gt;&lt;/elem&gt;&lt;elem m_fUsage=&quot;2.71485789428751400632E-01&quot;&gt;&lt;m_msothmcolidx val=&quot;0&quot;/&gt;&lt;m_rgb r=&quot;B1&quot; g=&quot;8C&quot; b=&quot;D0&quot;/&gt;&lt;/elem&gt;&lt;elem m_fUsage=&quot;1.21576654590569363523E-01&quot;&gt;&lt;m_msothmcolidx val=&quot;0&quot;/&gt;&lt;m_rgb r=&quot;63&quot; g=&quot;5F&quot; b=&quot;C6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HSKQ9azpdJWIe28cCtj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XAa_TfRCwfsQFdKVzM0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qpn63u963F9Y9duodzA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5_CEc5_ejFk7EVPCelO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aPlFEw.maAwsc1rYFSw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1wIgJ9isQcFd95tPNvQg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fWLJHk1PLb0fpf_1zwww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ij9P_q8CJeZh0mGn2H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Bc8kZUMWpWTc4IcDo1GA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Azsrx4CfZ5Pe8vMDMC6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PDILGI43BJsaPeQo20A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szMi1eDju88yW9crfA3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MTA99RSuaexZVdLUoTx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Cmv909EGkRiZJdyKBbfQ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jy_dfR1SJGn2IOItj8S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i1OSx.k8VLFAt2prjhQ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Fl1MoGn.OtzTyun.tz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B6ChhGVUbR2Y5xeVeJ9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fLCEl6YKO.Tc2pjki.nQ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pSsToa9oMbG_T9x82rkA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h76FGUOjHVCK7KcnH1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CHp4Rj1Gera2d.ZorLC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EUzGVDhPBzpGnG5thXkw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yb94jRQF0YY1cYH3_IK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6CRugBPn.U_lt7vib.Q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n9C36.xaJH9mt96G2ly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hKJ1U8FbkLkI40Xa48E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5CKjWQ2_1556BGypbez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_MHlfmkqxYaRVdAoi0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.Ze8q_XZyZU6yFfKz09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7xMrnYEBqgus6.Lbw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OPsOpd.6JHANAQUEI9D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P42PrnzC_NQhl5EcXS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.W92JIX_OdXamcM3EI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0N4vE1VnZgfoXl04Vf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uFglCZuEr4MleczwH1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Cq.rRg3r.bftH5t1rU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6B2XTZuXJqqZH8FjUHv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w47pxcHuUr3WtfMyVF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lCQXObarIRwLz7M7kXP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.n7JxkNWYKm6EUyGI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Gh3LmzmTGH1cTORKVLO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lxXkJ8IJ6h9IthLpfQ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d0l_xB_N9pahjgCOr.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p2OoIb51BhUhxiUYaX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aX8zpJigg_4V3g_VXBh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hccvaZLUSP9be70w21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OPsOpd.6JHANAQUEI9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Gh3LmzmTGH1cTORKVLO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d0l_xB_N9pahjgCOr.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WfxQJ4WD.rxCYc7Od3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e1sokfOD3S1vNXfwD4i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v_cJUFt0oauEpCA5N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WfxQJ4WD.rxCYc7Od3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MXGkF5Q1bC.HLyGbCu8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5OVUIaxU2_vqYYpxlZ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TT9fRDEmJgiHQ6IWFp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2ri68MuKDFeFBf8T85K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iaJNvQD2vHKn5ZsFDo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k.8Sc9U9LUMTEgFu_5U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NXUwq2DUiaibX.q.QEV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d55P1.0r56A61.2Ncvo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tp574N1VoPR7I7WPDp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.mRWO2BzQjpMOpqPh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e1sokfOD3S1vNXfwD4i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upErAQNRwHC5APiYf.6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svPmQlPNk5dcmj2EwZi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Wi7o05.d29EhOapY11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MMA_8TAlD7o12.528v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tn6JgaKIkYqjDXGmN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KdhNNHSbiqTupfKMKd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e53fjUTeUV5_GV7XvsF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xR1N1SsrqS4f4ph1gj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c2kgpkuSMDFADm_FgS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IaWsXpPRwaoDCo2Itq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v_cJUFt0oauEpCA5N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hhpGH5ylv2fzvff.qWS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HHgSbbjc7YtKPFH51j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Y0Dg9vKsU6herUKiDd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PcksSTXFe3hKlH9JSp.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9.J5sIsFRHdL04QSXZ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XjiWAwODKF8SeXq.l0G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H5v8os1rFaEYL55QzTV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d1p.IVMWxJCDL2kD8lM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MXGkF5Q1bC.HLyGbCu8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mfvn6WRg22yDBLrLAg.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scmAaxUUDm8IMcvJawQ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RTioz8ZGw6bSeHtsC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YYeJJDM_UJKbgV.isA5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1Z7og0Ab1mLHnxzoppP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mAQEuBPKYZ5o33B_Bq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PDILGI43BJsaPeQo20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_MHlfmkqxYaRVdAoi0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5OVUIaxU2_vqYYpxlZv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.Ze8q_XZyZU6yFfKz09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7xMrnYEBqgus6.Lbw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P42PrnzC_NQhl5EcXS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.W92JIX_OdXamcM3E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0N4vE1VnZgfoXl04Vf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uFglCZuEr4MleczwH1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Cq.rRg3r.bftH5t1rU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6B2XTZuXJqqZH8FjUH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TT9fRDEmJgiHQ6IWFp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w47pxcHuUr3WtfMyVFA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lCQXObarIRwLz7M7kXP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.n7JxkNWYKm6EUyGI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lxXkJ8IJ6h9IthLpfQI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2ri68MuKDFeFBf8T85K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p2OoIb51BhUhxiUYaX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p2OoIb51BhUhxiUYa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aX8zpJigg_4V3g_VXBh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hccvaZLUSP9be70w21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OPsOpd.6JHANAQUEI9D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Gh3LmzmTGH1cTORKVLO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d0l_xB_N9pahjgCOr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iaJNvQD2vHKn5ZsFDoz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WfxQJ4WD.rxCYc7Od3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e1sokfOD3S1vNXfwD4i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v_cJUFt0oauEpCA5N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MXGkF5Q1bC.HLyGbCu8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5OVUIaxU2_vqYYpxlZ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TT9fRDEmJgiHQ6IWFp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2ri68MuKDFeFBf8T85K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iaJNvQD2vHKn5ZsFDoz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k.8Sc9U9LUMTEgFu_5U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NXUwq2DUiaibX.q.QE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k.8Sc9U9LUMTEgFu_5U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d55P1.0r56A61.2Ncvo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tp574N1VoPR7I7WPDp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.mRWO2BzQjpMOpqPhs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upErAQNRwHC5APiYf.6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svPmQlPNk5dcmj2EwZ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Wi7o05.d29EhOapY11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MMA_8TAlD7o12.528v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tn6JgaKIkYqjDXGmNW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KdhNNHSbiqTupfKMKd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e53fjUTeUV5_GV7Xvs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NXUwq2DUiaibX.q.QE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xR1N1SsrqS4f4ph1gj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c2kgpkuSMDFADm_FgS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IaWsXpPRwaoDCo2Itql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hhpGH5ylv2fzvff.qWS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HHgSbbjc7YtKPFH51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Y0Dg9vKsU6herUKiDd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PcksSTXFe3hKlH9JSp.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9.J5sIsFRHdL04QSXZM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XjiWAwODKF8SeXq.l0G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H5v8os1rFaEYL55QzT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d55P1.0r56A61.2Ncvo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d1p.IVMWxJCDL2kD8lM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mfvn6WRg22yDBLrLAg.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scmAaxUUDm8IMcvJawQ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RTioz8ZGw6bSeHtsCX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YYeJJDM_UJKbgV.isA5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1Z7og0Ab1mLHnxzopp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tp574N1VoPR7I7WPDp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mAQEuBPKYZ5o33B_Bq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PDILGI43BJsaPeQo20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_MHlfmkqxYaRVdAoi0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.Ze8q_XZyZU6yFfKz0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7xMrnYEBqgus6.Lbwy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P42PrnzC_NQhl5EcXS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.W92JIX_OdXamcM3EI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0N4vE1VnZgfoXl04Vf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uFglCZuEr4MleczwH1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.mRWO2BzQjpMOpqPhs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Cq.rRg3r.bftH5t1rU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6B2XTZuXJqqZH8FjUHv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w47pxcHuUr3WtfMyVFA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lCQXObarIRwLz7M7kX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.n7JxkNWYKm6EUyGIx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lxXkJ8IJ6h9IthLpfQI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upErAQNRwHC5APiYf.6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p2OoIb51BhUhxiUYaX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d55P1.0r56A61.2Ncvo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.mRWO2BzQjpMOpqPhs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svPmQlPNk5dcmj2EwZi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Wi7o05.d29EhOapY11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MMA_8TAlD7o12.528v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tn6JgaKIkYqjDXGmNW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KdhNNHSbiqTupfKMKd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e53fjUTeUV5_GV7Xvs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xR1N1SsrqS4f4ph1gj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c2kgpkuSMDFADm_FgS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IaWsXpPRwaoDCo2Itql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hhpGH5ylv2fzvff.qWS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HHgSbbjc7YtKPFH51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Wi7o05.d29EhOapY11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Y0Dg9vKsU6herUKiDd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PcksSTXFe3hKlH9JSp.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9.J5sIsFRHdL04QSXZM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RTioz8ZGw6bSeHtsCX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mAQEuBPKYZ5o33B_Bq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PDILGI43BJsaPeQo20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_MHlfmkqxYaRVdAoi0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.Ze8q_XZyZU6yFfKz09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MMA_8TAlD7o12.528v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7xMrnYEBqgus6.Lbwy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P42PrnzC_NQhl5EcXS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.W92JIX_OdXamcM3EI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0N4vE1VnZgfoXl04Vf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uFglCZuEr4MleczwH1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Cq.rRg3r.bftH5t1rU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6B2XTZuXJqqZH8FjUHv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w47pxcHuUr3WtfMyVFA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tn6JgaKIkYqjDXGmNW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uLNx0KsjefmIqBVezc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tFRvWV0KmhbTK61I4nJ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Ykgd9c95mQSsqtirwtG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hlvxGPHtPZrXU5oUcbl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5rJctcIFQdrBIokPTXZ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Cg1_7zlzzAfwEDurIen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pT2aS6jLBjavhkfqjjE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V0GzQO6hl0U7LtszaLW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SXZE_lWRzzkH2RSK4E3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V62XcGWWvxW9zxDr_SR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HH7EFi0iyBYaVMtP.4z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KdhNNHSbiqTupfKMKd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1ie8Vylj.Ax208ClS2c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YtbnfVGyjO39eHPL11r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38IXowGAJ8s_CbMubk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b8yPObw28W0fxIHxXez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h.ttY6VLUymiWTRvDyo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VuM5gL_kjY02HS79yXw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gAIy.1AzvS.S.9YH7X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gO8LR_sGqVkWj5nVSaQ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pRmkNkZXn_PPJYPxczp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iHOZ.bEaOmWRQE1WVUz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7IL5FJRzBUUs6j9qzFS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CIXYvUzkqiN_sgu82LS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53_BOnbGBG6DTGHO2Zd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rn08hN1v1m2yy49cX8Q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9MMa60lasZbPJl4aX5h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wfToSln3CNeOIJNXsBx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ctOvOkNFaN4Z1HW_Mif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5TUqa5xkVsTn07eSfwZ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U7Zax9BqnFEOF0fHwcG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bIx.LC1VAcH1AxndZ9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e53fjUTeUV5_GV7XvsF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TW6GX84z5tbsrH0Zs0u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lml6KhbebG9fAbc0G5i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aIsc6wAqokI894iTAO8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fBFXyVdC9xTK6PEPNET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bXeByf0V2L5WsKdJVEi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S.nswIunZyfB6GDOfU5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u8GKyddQQw0fOeJkdXJ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5hT3ZO0oiZPpJhYqSqo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srT4V5chUnVXcwGnYPk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w.T5bElDTMfOHrcpqcb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x0t6t2LSc31pDTLaju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7fTlPXCR6Ve.FnYRvqm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63Rb8hNzLnpw2F6L2rU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32Qu56dnvmO7j0PKWN5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ob.ROF0QNtEBCvRQSKU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tU6pbFPgHV4HthoXdVW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Ie1sa0yvomAuMdLvVO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c8tK1AK8UXxsSckXPQa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9Wol32AImwT6dtiHN94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xR1N1SsrqS4f4ph1gj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043WpuZptUYq9CSfLD4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RTQZ6oE07qpYZMs_JY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5ZcBZw3.gLvY6FcN84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JHAT3_35qRuhL4vqIlM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EtaBlCoTVfJe6OJPn8E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Fa5ORmBhAHuljpcUMI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V85JKVhJxdd_konkXTe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Cp6tTi7sEbDpStl3Hkj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R_Eyj9IK9n7wl4EFC0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E3TQJ5j3QnXqGlDLT3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Isji57rccozixjSptI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h298LOh0ycVg_AuBEW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3rHndBL8HqznDH0CPyN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xYvB8WppMXTNzV1MGl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wAA_JrTRz07ie7N3jV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jle5xOpyqkJwErr7ina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_rwbbMqk6MIaDppUX0_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WaoS3dSvr2Lvj11um8r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vOviQtRfP0FvKtJLGcA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.P4bDwk_hx3787yEp0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c2kgpkuSMDFADm_FgS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vgFFaYvN6K9EBjxBHyl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xRBiX8yZQX6tfGkuQk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_j59trWQyERa1GIVa3a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xKvV7c5ve2Qk4M7kEL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OiA2OyaRWgiXbJAU_4f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ewA8nfN6eAIug7eicaK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6OkayyrtegW7wlrnIZg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2K0a35XIXQJ2kbzMz2q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DOrMFxJnISkPO.SwhM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42WFReUEZI7fBt4qDt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0R7ghQrMFfQaBYyciGM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xbaay..HCEfWGBiuBg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nsVSiugzFiYGK2E9ym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zbdKx1jvAqEbLJrLvR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FsoHV_wglJzaakMoLfx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Qtin2CmKOr48d1oK3mM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nDBObtxOoqCUiZYQOp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H.lDV1tXdkxJvC7VJe.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wd.9eaHvxZT0yeK9ss9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PfQVJnPNWiYyddhvOh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IaWsXpPRwaoDCo2Itql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VYp1NGXFqpPn314kA.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rP5vx1YhBWrpehvsbQ0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xf8QoDszpBfriYHeE6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c.aVzCNJBVn1rArCuo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RJWxjz2iuCGCPzfgh3w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oUBb7_b16YSi2eJiwS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jIyRZiHKa8G_h7OAuD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NOcDc6S6SKD37uK3iVd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vGJafmE8nkLjIdSODT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mUa9rhkFHV5hs_wov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yD9uGPs1FXtvqI_lhmE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b7I4Alw5f66VIawpfPA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v29YPBuFB7WVI6SMUd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gz3hvAr8U5B.6Qd1.4Y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8HT2Xw5PK3Gg2OBN2VY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b7ESotlbrTqEMnctaIP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5fUKaNlXKgXVvIdmZXO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wXDdPBgmgzk3gRk_sXA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Ojh18LIqYr96qKqa3Zw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YO4RMHZEfaoXPUHULPA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hhpGH5ylv2fzvff.qWS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_sILun9WwxEabY6o3T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8xmMYmtb5DWWRnAcDK4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bvTCRoZ9bQmltWBTjzQ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D5I.YhqjYAPoMPlBW9R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6kkSut4usT9BdATYn8c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LF_s7ZF4ZcN.EKLbXN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hFn2DnqAo_jq9l7oCk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v7RnyoMYsW7Cwfo5hL8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5MgxukDD9evYq0zMi4G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_XKCTxp3uh5DVL.Bo9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KfvYdFaWoX4So4E9PPk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ssGhEe.Z8W223UY7_pl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2QNMf6hHMuhwOHPALfQ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c8tK1AK8UXxsSckXPQa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9Wol32AImwT6dtiHN94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043WpuZptUYq9CSfLD4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RTQZ6oE07qpYZMs_JY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5ZcBZw3.gLvY6FcN84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Fa5ORmBhAHuljpcUM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HHgSbbjc7YtKPFH51jw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Cp6tTi7sEbDpStl3Hkj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R_Eyj9IK9n7wl4EFC0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E3TQJ5j3QnXqGlDLT3G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Isji57rccozixjSptI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h298LOh0ycVg_AuBEW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3rHndBL8HqznDH0CPyN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jle5xOpyqkJwErr7ina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_rwbbMqk6MIaDppUX0_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WaoS3dSvr2Lvj11um8r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vOviQtRfP0FvKtJLGc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.P4bDwk_hx3787yEp0y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vgFFaYvN6K9EBjxBHyl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xRBiX8yZQX6tfGkuQk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OiA2OyaRWgiXbJAU_4f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ewA8nfN6eAIug7eicaK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6OkayyrtegW7wlrnIZg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2K0a35XIXQJ2kbzMz2q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DOrMFxJnISkPO.SwhM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42WFReUEZI7fBt4qDtR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0R7ghQrMFfQaBYyciGM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Y0Dg9vKsU6herUKiDd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xbaay..HCEfWGBiuBg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nsVSiugzFiYGK2E9ym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zbdKx1jvAqEbLJrLvR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FsoHV_wglJzaakMoLfx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Qtin2CmKOr48d1oK3mM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nDBObtxOoqCUiZYQOp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H.lDV1tXdkxJvC7VJe.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wd.9eaHvxZT0yeK9ss9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PfQVJnPNWiYyddhvOhx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VYp1NGXFqpPn314kA.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rP5vx1YhBWrpehvsbQ0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xf8QoDszpBfriYHeE6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c.aVzCNJBVn1rArCuo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RJWxjz2iuCGCPzfgh3w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oUBb7_b16YSi2eJiwS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Y6Rn1Sqv_Be6bKBoJDx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UQjZIChiGemrC5nrkh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jIyRZiHKa8G_h7OAuD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NOcDc6S6SKD37uK3iVd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vGJafmE8nkLjIdSODT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PcksSTXFe3hKlH9JSp.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mUa9rhkFHV5hs_wovq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yD9uGPs1FXtvqI_lhmE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b7I4Alw5f66VIawpfPA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jZczPXvC9KuJP7Mcr6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v29YPBuFB7WVI6SMUd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gz3hvAr8U5B.6Qd1.4Y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8HT2Xw5PK3Gg2OBN2VY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b7ESotlbrTqEMnctaIP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5fUKaNlXKgXVvIdmZXO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WmzOejiXKjDYh4LZGd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aX8zpJigg_4V3g_VXB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wXDdPBgmgzk3gRk_sXA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Ojh18LIqYr96qKqa3Zw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YO4RMHZEfaoXPUHULPA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_sILun9WwxEabY6o3T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8xmMYmtb5DWWRnAcDK4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bvTCRoZ9bQmltWBTjzQ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LF_s7ZF4ZcN.EKLbXN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hFn2DnqAo_jq9l7oCk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v7RnyoMYsW7Cwfo5hL8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5MgxukDD9evYq0zMi4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9.J5sIsFRHdL04QSXZM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_XKCTxp3uh5DVL.Bo9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KfvYdFaWoX4So4E9PPk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c8tK1AK8UXxsSckXPQa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byYCUD3ks8AsNJluhJe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0JZ4aa6yYVrUikdRCXl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f36RT2Sjx0VnE2DYfwE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xWHRalgfUxm3oQfVeSN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aHI3FClJHWJv5pSVX59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dcPteFIw8sDaUG4sEp5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ifelbQ23sp5LyWkKxkF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d2I74KYwQZB9A_8uWl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jle5xOpyqkJwErr7ina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7T.DynhaKwrtZEZGsVt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37WFgKw4lwbqvlOhBXkw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Nc7I7F9VsgKf9kWGupV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f3bo6quwYZs3NnqTj4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vXoYtv2sX06cgGpBYgI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OiA2OyaRWgiXbJAU_4f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xGyXUKwxPmMXuANZFr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XjiWAwODKF8SeXq.l0G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wd6y9f7.aUDnS5sZc.z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hyuumojkcArTnQPuTVK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DOrMFxJnISkPO.SwhM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42WFReUEZI7fBt4qDtR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0R7ghQrMFfQaBYyciGM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xbaay..HCEfWGBiuBg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nsVSiugzFiYGK2E9ym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zbdKx1jvAqEbLJrLvR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FsoHV_wglJzaakMoLfx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Qtin2CmKOr48d1oK3mM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nDBObtxOoqCUiZYQOp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H.lDV1tXdkxJvC7VJe.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wd.9eaHvxZT0yeK9ss9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PfQVJnPNWiYyddhvOhx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VYp1NGXFqpPn314kA.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rP5vx1YhBWrpehvsbQ0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xf8QoDszpBfriYHeE6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c.aVzCNJBVn1rArCuog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RJWxjz2iuCGCPzfgh3w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oUBb7_b16YSi2eJiw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H5v8os1rFaEYL55QzTV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jIyRZiHKa8G_h7OAuD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NOcDc6S6SKD37uK3iVdw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vGJafmE8nkLjIdSODT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mUa9rhkFHV5hs_wovq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yD9uGPs1FXtvqI_lhmE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xhYEuaCDQa7R_cJ0jjF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v29YPBuFB7WVI6SMUd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gz3hvAr8U5B.6Qd1.4Y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8HT2Xw5PK3Gg2OBN2VY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b7ESotlbrTqEMnctaIP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xgg8AWCizzzhsBeLZVH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enb3e8aWaKknqfrRQY8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Q27xQ72pEOEkP.6O0Fu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u5nAEtearm5wLihLOUl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TWysV0wpXe53AMBis_w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LVUJRAUsiBcE4cFr_C0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dNaxhk91tm4tFLuuYeM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idOj1RQBOAvnGR1_lSY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hlqGWui4MBs2cko_Ik_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thnRt9WyF5NX.MZsAC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oMSuvcAA0jD2A_r.k7o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giTUv1zI2sG4ElH8YW7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MUIHRn0RT3gy7l3Il8u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MhE8YT_bA9ii8R6mj7g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psQxltnY4q.5NxKR2fX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9UOjDvF9KSmL1FPeI_2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DZ6Q1FF3C.3F59uBZn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KXAgL__ZYZhKSHWupC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92SrRbMCHcDL3wyUax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d1p.IVMWxJCDL2kD8lM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YYeXJGvMnd2zhR07Qv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nIRl0OsgvZNSY4iIUKp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fXp6t7lhtQs6jF6l4id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2PDrAzaiLfNhPSG7pK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5NEqoK78KGX2inh6mQ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QIA2ilui81Br7KJPjk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_cIsm8HDqOVcAr.RmEp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p0S9IctRyI0WABNwQ_A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_EV618fTrhlO3TKqpPm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ByYVfOK6V7yOpdt.58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IOZ5WrfxOu3uHujP8NYQ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9wGq_P6pPgeRDP2x7YG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nCEMtR7XQNnT63l5wt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1BLCUP_GKpm9VUjbKPT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UYar4HL_WHHsrERqva6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wteOKpiuGCfKMizW6qd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lgKFOGRN39_pfE18J28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rvgdhUQP5k.ZbgrjMFX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PTGY.xhkwqjCIYHuV8n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8JUedDFHaKGMbmNa9C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y252ZXAIGtuaRaDJhI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VLTz_TX2026XNrcgeva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BrTpVt6GK2MyduvzrEwg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gZ_RC0d88nDM_AzcSn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712GWPRoKDuOM77Qe3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A3PNK4qTOAr2ZTmvGSH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CEB1f.Qy0Dq0_39lqN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.EHCSgsSMcApehhwDQ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o12vOM70DVITVqSdYQ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gYvGdX6SJHt1fT96bNa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S6wGsnXhqTRcf8Ex0.b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uGIkKmm2yEZq92psnt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ScuPI5zbx8R0u8a2Jg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dgUrC7xx54jeCMd5_iI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Ck1KmoB3R6ctcafvW7g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r4jc2QI4KGidX_4xA3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i1hHpNy_.rTNbd3O4kB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lAkqBtiyptHbufzO1P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Ivskv7URwaezAXCjc80Q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S6xqF9TTQX5qSmPpEE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LnrOX9YDUHR7UXXoVB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CziPPysC.JnuIqmRuTA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1PW6Zhw3KfFPDKMHBeqw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goUBakfyTpsRs6f5wg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BbMIH7jJ3bmn.nGXJq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fXnuSHix7KDltlI3_pr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O4M3cRQFQfoWwDpz40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MhE8YT_bA9ii8R6mj7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MUIHRn0RT3gy7l3Il8u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giTUv1zI2sG4ElH8YW7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psQxltnY4q.5NxKR2fX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9UOjDvF9KSmL1FPeI_2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DZ6Q1FF3C.3F59uBZn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KXAgL__ZYZhKSHWupC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92SrRbMCHcDL3wyUaxQ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YYeXJGvMnd2zhR07Qv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fXp6t7lhtQs6jF6l4id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2PDrAzaiLfNhPSG7pK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5NEqoK78KGX2inh6mQ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QIA2ilui81Br7KJPjkw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_cIsm8HDqOVcAr.RmEp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p0S9IctRyI0WABNwQ_A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_EV618fTrhlO3TKqpPm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ByYVfOK6V7yOpdt.58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IOZ5WrfxOu3uHujP8NY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wteOKpiuGCfKMizW6qd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nCEMtR7XQNnT63l5wt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1BLCUP_GKpm9VUjbKPT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UYar4HL_WHHsrERqva6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y252ZXAIGtuaRaDJhI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9wGq_P6pPgeRDP2x7YG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rvgdhUQP5k.ZbgrjMFX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PTGY.xhkwqjCIYHuV8n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8JUedDFHaKGMbmNa9Ce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VLTz_TX2026XNrcgeva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lgKFOGRN39_pfE18J28Q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BrTpVt6GK2MyduvzrEwg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gZ_RC0d88nDM_AzcSn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712GWPRoKDuOM77Qe3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A3PNK4qTOAr2ZTmvGSH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CEB1f.Qy0Dq0_39lqN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.EHCSgsSMcApehhwDQg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o12vOM70DVITVqSdYQ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gYvGdX6SJHt1fT96bNa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S6wGsnXhqTRcf8Ex0.bw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uGIkKmm2yEZq92psnt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ScuPI5zbx8R0u8a2Jg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dgUrC7xx54jeCMd5_iIA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Ck1KmoB3R6ctcafvW7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mfvn6WRg22yDBLrLAg.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r4jc2QI4KGidX_4xA3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i1hHpNy_.rTNbd3O4kBw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lAkqBtiyptHbufzO1P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Ivskv7URwaezAXCjc80Q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S6xqF9TTQX5qSmPpEE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LnrOX9YDUHR7UXXoVB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CziPPysC.JnuIqmRuT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1PW6Zhw3KfFPDKMHBeq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goUBakfyTpsRs6f5wg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BbMIH7jJ3bmn.nGXJq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fXnuSHix7KDltlI3_pr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O4M3cRQFQfoWwDpz40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MhE8YT_bA9ii8R6mj7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MUIHRn0RT3gy7l3Il8u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giTUv1zI2sG4ElH8YW7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psQxltnY4q.5NxKR2fX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9UOjDvF9KSmL1FPeI_2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DZ6Q1FF3C.3F59uBZn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KXAgL__ZYZhKSHWupC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mfvn6WRg22yDBLrLAg.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92SrRbMCHcDL3wyUax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YYeXJGvMnd2zhR07Qv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nIRl0OsgvZNSY4iIUKpQ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0wnc55sDNbW_y2t1m8j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fXp6t7lhtQs6jF6l4id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2PDrAzaiLfNhPSG7pK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5NEqoK78KGX2inh6mQ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QIA2ilui81Br7KJPjk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_cIsm8HDqOVcAr.RmEp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ByYVfOK6V7yOpdt.5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hccvaZLUSP9be70w21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nCEMtR7XQNnT63l5wt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1BLCUP_GKpm9VUjbKPT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UYar4HL_WHHsrERqva6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y252ZXAIGtuaRaDJhI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A3PNK4qTOAr2ZTmvGSH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rvgdhUQP5k.ZbgrjMFXw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PTGY.xhkwqjCIYHuV8nA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8JUedDFHaKGMbmNa9Ce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VLTz_TX2026XNrcgeva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lgKFOGRN39_pfE18J28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scmAaxUUDm8IMcvJawQ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BrTpVt6GK2MyduvzrEw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gZ_RC0d88nDM_AzcSn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712GWPRoKDuOM77Qe3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CEB1f.Qy0Dq0_39lqN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.EHCSgsSMcApehhwDQ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o12vOM70DVITVqSdYQ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dgUrC7xx54jeCMd5_iI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gYvGdX6SJHt1fT96bNa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S6wGsnXhqTRcf8Ex0.b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9wGq_P6pPgeRDP2x7Y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ScuPI5zbx8R0u8a2Jg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r4jc2QI4KGidX_4xA3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i1hHpNy_.rTNbd3O4kB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lAkqBtiyptHbufzO1Pg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uGIkKmm2yEZq92psnt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S6xqF9TTQX5qSmPpEEg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LnrOX9YDUHR7UXXoVB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CziPPysC.JnuIqmRuT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1PW6Zhw3KfFPDKMHBeqw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goUBakfyTpsRs6f5wg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RTioz8ZGw6bSeHtsCX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BbMIH7jJ3bmn.nGXJq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fXnuSHix7KDltlI3_pr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O4M3cRQFQfoWwDpz40A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MhE8YT_bA9ii8R6mj7g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46YQCrfyyZUMMrpG14Iw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giTUv1zI2sG4ElH8YW7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psQxltnY4q.5NxKR2fX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9UOjDvF9KSmL1FPeI_2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DZ6Q1FF3C.3F59uBZn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KXAgL__ZYZhKSHWupCA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92SrRbMCHcDL3wyUax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YYeXJGvMnd2zhR07Qv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2Hya0Xbe1aL_G3fKC2g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0r26s8jPyx0QPLB90WW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fXp6t7lhtQs6jF6l4id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ffa3heiCWYYBduR151Q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COscKRIaFMtNutyoWaL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ByYVfOK6V7yOpdt.58A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pVfAaMWrvmqAzbmAz3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YYeJJDM_UJKbgV.isA5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oKhbQaWKPBS4.xLliYIQ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nCEMtR7XQNnT63l5wt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1BLCUP_GKpm9VUjbKPT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UYar4HL_WHHsrERqva6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y252ZXAIGtuaRaDJhI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.EHCSgsSMcApehhwDQg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rvgdhUQP5k.ZbgrjMFXw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PTGY.xhkwqjCIYHuV8n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8JUedDFHaKGMbmNa9Ce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gZ_RC0d88nDM_AzcSn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lgKFOGRN39_pfE18J28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CEB1f.Qy0Dq0_39lqNA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o12vOM70DVITVqSdYQA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2PDrAzaiLfNhPSG7pK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5NEqoK78KGX2inh6mQA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QIA2ilui81Br7KJPjkw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_cIsm8HDqOVcAr.RmEp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dgUrC7xx54jeCMd5_iI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uGIkKmm2yEZq92psntQ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ScuPI5zbx8R0u8a2J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1Z7og0Ab1mLHnxzoppP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9wGq_P6pPgeRDP2x7YG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q1jauYg3pKmECjL2k17Q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r4jc2QI4KGidX_4xA3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i1hHpNy_.rTNbd3O4kBw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lAkqBtiyptHbufzO1Pg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aGTf_C_TeERjKsfhBN4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S6xqF9TTQX5qSmPpEE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LnrOX9YDUHR7UXXoVB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CziPPysC.JnuIqmRuT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1PW6Zhw3KfFPDKMHBe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goUBakfyTpsRs6f5wgg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BbMIH7jJ3bmn.nGXJq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fXnuSHix7KDltlI3_prw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O4M3cRQFQfoWwDpz40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_Larfe07sIwwESa09Imw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_dKlg6u0CRI.eYSi6d9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ByBNWRfX004a171GAHSQ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pVioJCxyUEa64bUJDUg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SeqvsBCWTTpTuMhSVgu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mAQEuBPKYZ5o33B_Bq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ViFBknnzb0Uo0BLRweB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rUh6.ltFiZxp2rVDRCw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OSPuFyY_kal1LuNiX4g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Yn81_iPg_5jq3a4VY1Ig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PgYX0RiRyr9q2I.hq0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O7Dt0DjlAQdDWT4hB.f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aJ7hLAoYCMs4RmpoVcW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nY.x_hBPqzYo6vM2Tp7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0NjG9zgPR.LRnM48cXh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7CLgS5K4nhQ3LNdhVvHw"/>
</p:tagLst>
</file>

<file path=ppt/theme/theme1.xml><?xml version="1.0" encoding="utf-8"?>
<a:theme xmlns:a="http://schemas.openxmlformats.org/drawingml/2006/main" name="VT client Grid 16:9">
  <a:themeElements>
    <a:clrScheme name="Custom 182">
      <a:dk1>
        <a:srgbClr val="000000"/>
      </a:dk1>
      <a:lt1>
        <a:srgbClr val="FFFFFF"/>
      </a:lt1>
      <a:dk2>
        <a:srgbClr val="2A276E"/>
      </a:dk2>
      <a:lt2>
        <a:srgbClr val="E9E9E9"/>
      </a:lt2>
      <a:accent1>
        <a:srgbClr val="703E97"/>
      </a:accent1>
      <a:accent2>
        <a:srgbClr val="5D4A89"/>
      </a:accent2>
      <a:accent3>
        <a:srgbClr val="F1CB14"/>
      </a:accent3>
      <a:accent4>
        <a:srgbClr val="8F00FF"/>
      </a:accent4>
      <a:accent5>
        <a:srgbClr val="545454"/>
      </a:accent5>
      <a:accent6>
        <a:srgbClr val="0064FF"/>
      </a:accent6>
      <a:hlink>
        <a:srgbClr val="00AED4"/>
      </a:hlink>
      <a:folHlink>
        <a:srgbClr val="E93FF2"/>
      </a:folHlink>
    </a:clrScheme>
    <a:fontScheme name="Custom 53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54545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_VT client Grid 16:9">
  <a:themeElements>
    <a:clrScheme name="Custom 182">
      <a:dk1>
        <a:srgbClr val="000000"/>
      </a:dk1>
      <a:lt1>
        <a:srgbClr val="FFFFFF"/>
      </a:lt1>
      <a:dk2>
        <a:srgbClr val="2A276E"/>
      </a:dk2>
      <a:lt2>
        <a:srgbClr val="E9E9E9"/>
      </a:lt2>
      <a:accent1>
        <a:srgbClr val="703E97"/>
      </a:accent1>
      <a:accent2>
        <a:srgbClr val="5D4A89"/>
      </a:accent2>
      <a:accent3>
        <a:srgbClr val="F1CB14"/>
      </a:accent3>
      <a:accent4>
        <a:srgbClr val="8F00FF"/>
      </a:accent4>
      <a:accent5>
        <a:srgbClr val="545454"/>
      </a:accent5>
      <a:accent6>
        <a:srgbClr val="0064FF"/>
      </a:accent6>
      <a:hlink>
        <a:srgbClr val="00AED4"/>
      </a:hlink>
      <a:folHlink>
        <a:srgbClr val="E93FF2"/>
      </a:folHlink>
    </a:clrScheme>
    <a:fontScheme name="Custom 53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54545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2_VT client Grid 16:9">
  <a:themeElements>
    <a:clrScheme name="Custom 182">
      <a:dk1>
        <a:srgbClr val="000000"/>
      </a:dk1>
      <a:lt1>
        <a:srgbClr val="FFFFFF"/>
      </a:lt1>
      <a:dk2>
        <a:srgbClr val="2A276E"/>
      </a:dk2>
      <a:lt2>
        <a:srgbClr val="E9E9E9"/>
      </a:lt2>
      <a:accent1>
        <a:srgbClr val="703E97"/>
      </a:accent1>
      <a:accent2>
        <a:srgbClr val="5D4A89"/>
      </a:accent2>
      <a:accent3>
        <a:srgbClr val="F1CB14"/>
      </a:accent3>
      <a:accent4>
        <a:srgbClr val="8F00FF"/>
      </a:accent4>
      <a:accent5>
        <a:srgbClr val="545454"/>
      </a:accent5>
      <a:accent6>
        <a:srgbClr val="0064FF"/>
      </a:accent6>
      <a:hlink>
        <a:srgbClr val="00AED4"/>
      </a:hlink>
      <a:folHlink>
        <a:srgbClr val="E93FF2"/>
      </a:folHlink>
    </a:clrScheme>
    <a:fontScheme name="Custom 53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54545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3_VT client Grid 16:9">
  <a:themeElements>
    <a:clrScheme name="Custom 182">
      <a:dk1>
        <a:srgbClr val="000000"/>
      </a:dk1>
      <a:lt1>
        <a:srgbClr val="FFFFFF"/>
      </a:lt1>
      <a:dk2>
        <a:srgbClr val="2A276E"/>
      </a:dk2>
      <a:lt2>
        <a:srgbClr val="E9E9E9"/>
      </a:lt2>
      <a:accent1>
        <a:srgbClr val="703E97"/>
      </a:accent1>
      <a:accent2>
        <a:srgbClr val="5D4A89"/>
      </a:accent2>
      <a:accent3>
        <a:srgbClr val="F1CB14"/>
      </a:accent3>
      <a:accent4>
        <a:srgbClr val="8F00FF"/>
      </a:accent4>
      <a:accent5>
        <a:srgbClr val="545454"/>
      </a:accent5>
      <a:accent6>
        <a:srgbClr val="0064FF"/>
      </a:accent6>
      <a:hlink>
        <a:srgbClr val="00AED4"/>
      </a:hlink>
      <a:folHlink>
        <a:srgbClr val="E93FF2"/>
      </a:folHlink>
    </a:clrScheme>
    <a:fontScheme name="Custom 53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Tx/>
          <a:buSzTx/>
          <a:buFontTx/>
          <a:buNone/>
          <a:tabLst/>
          <a:defRPr sz="1600" b="1" i="1" dirty="0" smtClean="0">
            <a:solidFill>
              <a:srgbClr val="C00000"/>
            </a:solidFill>
            <a:latin typeface="Arial" panose="020B0604020202020204" pitchFamily="34" charset="0"/>
            <a:ea typeface="微软雅黑" panose="020B0503020204020204" pitchFamily="34" charset="-122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54545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c6d92c-9eab-40fc-b10f-72ce128b9549" xsi:nil="true"/>
    <lcf76f155ced4ddcb4097134ff3c332f xmlns="94c1dc66-a656-4258-8605-357b9bb8eedd">
      <Terms xmlns="http://schemas.microsoft.com/office/infopath/2007/PartnerControls"/>
    </lcf76f155ced4ddcb4097134ff3c332f>
    <xSherpaClassifyTag xmlns="94c1dc66-a656-4258-8605-357b9bb8eed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80CC1A20ED3C409AB8B352AA5BF6DC" ma:contentTypeVersion="14" ma:contentTypeDescription="Create a new document." ma:contentTypeScope="" ma:versionID="e4bc90bb5fd1610bae1610df1602c6a0">
  <xsd:schema xmlns:xsd="http://www.w3.org/2001/XMLSchema" xmlns:xs="http://www.w3.org/2001/XMLSchema" xmlns:p="http://schemas.microsoft.com/office/2006/metadata/properties" xmlns:ns2="94c1dc66-a656-4258-8605-357b9bb8eedd" xmlns:ns3="66c6d92c-9eab-40fc-b10f-72ce128b9549" targetNamespace="http://schemas.microsoft.com/office/2006/metadata/properties" ma:root="true" ma:fieldsID="d0f0603a92802f1ad6653616c4e8c339" ns2:_="" ns3:_="">
    <xsd:import namespace="94c1dc66-a656-4258-8605-357b9bb8eedd"/>
    <xsd:import namespace="66c6d92c-9eab-40fc-b10f-72ce128b9549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xSherpaClassifyTag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c1dc66-a656-4258-8605-357b9bb8eedd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xSherpaClassifyTag" ma:index="19" nillable="true" ma:displayName="xSherpaClassifyTag" ma:indexed="true" ma:internalName="xSherpaClassifyTag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c6d92c-9eab-40fc-b10f-72ce128b9549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5fabd145-b401-48bd-84a8-52dcacd40f9c}" ma:internalName="TaxCatchAll" ma:showField="CatchAllData" ma:web="66c6d92c-9eab-40fc-b10f-72ce128b95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559FB6-491E-4014-B828-780AAAA58C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5EF8C2-7260-4C40-A1CE-304C9E15A20A}">
  <ds:schemaRefs>
    <ds:schemaRef ds:uri="66c6d92c-9eab-40fc-b10f-72ce128b9549"/>
    <ds:schemaRef ds:uri="94c1dc66-a656-4258-8605-357b9bb8eed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0E33281-9FA3-4F26-8ADF-291934C21298}">
  <ds:schemaRefs>
    <ds:schemaRef ds:uri="66c6d92c-9eab-40fc-b10f-72ce128b9549"/>
    <ds:schemaRef ds:uri="94c1dc66-a656-4258-8605-357b9bb8eed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IATRIS_16_9</Template>
  <TotalTime>86170</TotalTime>
  <Words>1847</Words>
  <Application>Microsoft Office PowerPoint</Application>
  <PresentationFormat>宽屏</PresentationFormat>
  <Paragraphs>631</Paragraphs>
  <Slides>9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9" baseType="lpstr">
      <vt:lpstr>等线</vt:lpstr>
      <vt:lpstr>微软雅黑</vt:lpstr>
      <vt:lpstr>Arial</vt:lpstr>
      <vt:lpstr>Trebuchet MS</vt:lpstr>
      <vt:lpstr>Wingdings</vt:lpstr>
      <vt:lpstr>VT client Grid 16:9</vt:lpstr>
      <vt:lpstr>1_VT client Grid 16:9</vt:lpstr>
      <vt:lpstr>2_VT client Grid 16:9</vt:lpstr>
      <vt:lpstr>3_VT client Grid 16:9</vt:lpstr>
      <vt:lpstr>think-cell 幻灯片</vt:lpstr>
      <vt:lpstr>生意增长的最大贡献仍然来自CV，CV YTD增长5.4%（立5.9%、络4.3%），拉动整体生意3.7%增长 Non-VBP产品继续保持20%以上增长，拉动整体生意1.9%增长 CV和Non-VBP产品增长贡献较9月YTD进一步扩大</vt:lpstr>
      <vt:lpstr>品类分布：CV占比和去年基本持平；Non-VBP生意占比提升，同时Pain产品生意占比显著下降 渠道分布：民营整体增长疲软，生意占比不断下降；公立二三级和电商生意占比均显著提升</vt:lpstr>
      <vt:lpstr>PowerPoint 演示文稿</vt:lpstr>
      <vt:lpstr>业务中心和电商团队业绩整体均达成，类消费品团队10月业绩有所下滑（vs 9月YTD同比 -1.5%）</vt:lpstr>
      <vt:lpstr>量价分析：将净销售额的增长拆解为量和价的变化的贡献，其中量的变化包括总盒数和不同价格大小包装Mix变化的影响，价的变化包括毛销价和投资费比变化的影响 立普妥净销售额增长主要来自量的增长，平均净价变化不大。投资费比下降主要来自两部分：1）今年撤掉原广阔市场投资，2）对中标价下调的补偿转为下调毛销价</vt:lpstr>
      <vt:lpstr>与立普妥类似，络活喜净销售额增长也主要来自量的增长，平均净价变化不大 零售盒数增长率显著高于量的变化的增长贡献，主要由于5mg*7小包装在增长而5mg*28大包装在下跌（10.7% vs -2.1%），品规Mix发生变化</vt:lpstr>
      <vt:lpstr>西乐葆在全渠道医院的增长同时来自量的增长和总投资费比的降低；零售销售量下跌，增长来自因大包装毛销价上调带来的平均净价格的提升</vt:lpstr>
      <vt:lpstr>万艾可的增长主要来自电商销售量的增长，类消费品团队覆盖零售销售量下跌</vt:lpstr>
      <vt:lpstr>西乐葆、乐瑞卡渠道购进和市场份额较去年均下跌 左洛复、立普妥、万艾可、怡诺思市场份额较去年有所下滑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GO组织思考</dc:title>
  <dc:subject/>
  <dc:creator>Chen, Evan</dc:creator>
  <cp:keywords/>
  <dc:description/>
  <cp:lastModifiedBy>Yiqun Dai</cp:lastModifiedBy>
  <cp:revision>289</cp:revision>
  <cp:lastPrinted>2017-02-15T14:23:56Z</cp:lastPrinted>
  <dcterms:created xsi:type="dcterms:W3CDTF">2023-04-03T10:07:27Z</dcterms:created>
  <dcterms:modified xsi:type="dcterms:W3CDTF">2025-11-10T02:46:2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5680CC1A20ED3C409AB8B352AA5BF6DC</vt:lpwstr>
  </property>
  <property fmtid="{D5CDD505-2E9C-101B-9397-08002B2CF9AE}" pid="4" name="MSIP_Label_db123a3e-d77f-4dd7-99f6-ff18cb6b8683_Enabled">
    <vt:lpwstr>true</vt:lpwstr>
  </property>
  <property fmtid="{D5CDD505-2E9C-101B-9397-08002B2CF9AE}" pid="5" name="MSIP_Label_db123a3e-d77f-4dd7-99f6-ff18cb6b8683_SetDate">
    <vt:lpwstr>2023-11-06T17:17:55Z</vt:lpwstr>
  </property>
  <property fmtid="{D5CDD505-2E9C-101B-9397-08002B2CF9AE}" pid="6" name="MSIP_Label_db123a3e-d77f-4dd7-99f6-ff18cb6b8683_Method">
    <vt:lpwstr>Standard</vt:lpwstr>
  </property>
  <property fmtid="{D5CDD505-2E9C-101B-9397-08002B2CF9AE}" pid="7" name="MSIP_Label_db123a3e-d77f-4dd7-99f6-ff18cb6b8683_Name">
    <vt:lpwstr>bcgCN_lbl_standard</vt:lpwstr>
  </property>
  <property fmtid="{D5CDD505-2E9C-101B-9397-08002B2CF9AE}" pid="8" name="MSIP_Label_db123a3e-d77f-4dd7-99f6-ff18cb6b8683_SiteId">
    <vt:lpwstr>69c54104-2566-493f-94f9-63c84681f2a2</vt:lpwstr>
  </property>
  <property fmtid="{D5CDD505-2E9C-101B-9397-08002B2CF9AE}" pid="9" name="MSIP_Label_db123a3e-d77f-4dd7-99f6-ff18cb6b8683_ActionId">
    <vt:lpwstr>2043d2bc-2b7e-46f3-bc8a-626483aca04d</vt:lpwstr>
  </property>
  <property fmtid="{D5CDD505-2E9C-101B-9397-08002B2CF9AE}" pid="10" name="MSIP_Label_db123a3e-d77f-4dd7-99f6-ff18cb6b8683_ContentBits">
    <vt:lpwstr>0</vt:lpwstr>
  </property>
  <property fmtid="{D5CDD505-2E9C-101B-9397-08002B2CF9AE}" pid="11" name="MSIP_Label_d5f66cae-0409-4879-af4a-2fdbf4094d55_Enabled">
    <vt:lpwstr>true</vt:lpwstr>
  </property>
  <property fmtid="{D5CDD505-2E9C-101B-9397-08002B2CF9AE}" pid="12" name="MSIP_Label_d5f66cae-0409-4879-af4a-2fdbf4094d55_SetDate">
    <vt:lpwstr>2023-11-06T17:36:31Z</vt:lpwstr>
  </property>
  <property fmtid="{D5CDD505-2E9C-101B-9397-08002B2CF9AE}" pid="13" name="MSIP_Label_d5f66cae-0409-4879-af4a-2fdbf4094d55_Method">
    <vt:lpwstr>Privileged</vt:lpwstr>
  </property>
  <property fmtid="{D5CDD505-2E9C-101B-9397-08002B2CF9AE}" pid="14" name="MSIP_Label_d5f66cae-0409-4879-af4a-2fdbf4094d55_Name">
    <vt:lpwstr>Public</vt:lpwstr>
  </property>
  <property fmtid="{D5CDD505-2E9C-101B-9397-08002B2CF9AE}" pid="15" name="MSIP_Label_d5f66cae-0409-4879-af4a-2fdbf4094d55_SiteId">
    <vt:lpwstr>2dfb2f0b-4d21-4268-9559-72926144c918</vt:lpwstr>
  </property>
  <property fmtid="{D5CDD505-2E9C-101B-9397-08002B2CF9AE}" pid="16" name="MSIP_Label_d5f66cae-0409-4879-af4a-2fdbf4094d55_ActionId">
    <vt:lpwstr>9e7c9935-244c-4788-8443-aacd97bc612d</vt:lpwstr>
  </property>
  <property fmtid="{D5CDD505-2E9C-101B-9397-08002B2CF9AE}" pid="17" name="MSIP_Label_d5f66cae-0409-4879-af4a-2fdbf4094d55_ContentBits">
    <vt:lpwstr>0</vt:lpwstr>
  </property>
  <property fmtid="{D5CDD505-2E9C-101B-9397-08002B2CF9AE}" pid="18" name="MSIP_Label_ed96aa77-7762-4c34-b9f0-7d6a55545bbc_Enabled">
    <vt:lpwstr>true</vt:lpwstr>
  </property>
  <property fmtid="{D5CDD505-2E9C-101B-9397-08002B2CF9AE}" pid="19" name="MSIP_Label_ed96aa77-7762-4c34-b9f0-7d6a55545bbc_SetDate">
    <vt:lpwstr>2024-07-28T12:26:03Z</vt:lpwstr>
  </property>
  <property fmtid="{D5CDD505-2E9C-101B-9397-08002B2CF9AE}" pid="20" name="MSIP_Label_ed96aa77-7762-4c34-b9f0-7d6a55545bbc_Method">
    <vt:lpwstr>Privileged</vt:lpwstr>
  </property>
  <property fmtid="{D5CDD505-2E9C-101B-9397-08002B2CF9AE}" pid="21" name="MSIP_Label_ed96aa77-7762-4c34-b9f0-7d6a55545bbc_Name">
    <vt:lpwstr>Proprietary</vt:lpwstr>
  </property>
  <property fmtid="{D5CDD505-2E9C-101B-9397-08002B2CF9AE}" pid="22" name="MSIP_Label_ed96aa77-7762-4c34-b9f0-7d6a55545bbc_SiteId">
    <vt:lpwstr>b7dcea4e-d150-4ba1-8b2a-c8b27a75525c</vt:lpwstr>
  </property>
  <property fmtid="{D5CDD505-2E9C-101B-9397-08002B2CF9AE}" pid="23" name="MSIP_Label_ed96aa77-7762-4c34-b9f0-7d6a55545bbc_ActionId">
    <vt:lpwstr>3ea4c5c8-ef0b-4f92-9df7-8282c264b3d9</vt:lpwstr>
  </property>
  <property fmtid="{D5CDD505-2E9C-101B-9397-08002B2CF9AE}" pid="24" name="MSIP_Label_ed96aa77-7762-4c34-b9f0-7d6a55545bbc_ContentBits">
    <vt:lpwstr>0</vt:lpwstr>
  </property>
</Properties>
</file>